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05" r:id="rId2"/>
    <p:sldId id="281" r:id="rId3"/>
    <p:sldId id="308" r:id="rId4"/>
    <p:sldId id="313" r:id="rId5"/>
    <p:sldId id="309" r:id="rId6"/>
    <p:sldId id="311" r:id="rId7"/>
    <p:sldId id="314" r:id="rId8"/>
    <p:sldId id="316" r:id="rId9"/>
    <p:sldId id="317" r:id="rId10"/>
    <p:sldId id="315" r:id="rId11"/>
  </p:sldIdLst>
  <p:sldSz cx="12192000" cy="6858000"/>
  <p:notesSz cx="7104063" cy="10234613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64"/>
    <a:srgbClr val="C171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4DCB79-8AE8-40A1-9FD2-3DFC52767FE3}" v="757" dt="2023-08-28T13:20:27.060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6599" autoAdjust="0"/>
  </p:normalViewPr>
  <p:slideViewPr>
    <p:cSldViewPr snapToGrid="0" showGuides="1">
      <p:cViewPr varScale="1">
        <p:scale>
          <a:sx n="87" d="100"/>
          <a:sy n="87" d="100"/>
        </p:scale>
        <p:origin x="145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344DCB79-8AE8-40A1-9FD2-3DFC52767FE3}"/>
    <pc:docChg chg="undo custSel addSld delSld modSld replTag">
      <pc:chgData name="Tobias Brammer" userId="80a1e1bd-3b82-47a5-b259-da62a397db92" providerId="ADAL" clId="{344DCB79-8AE8-40A1-9FD2-3DFC52767FE3}" dt="2023-08-28T13:20:27.060" v="1168"/>
      <pc:docMkLst>
        <pc:docMk/>
      </pc:docMkLst>
      <pc:sldChg chg="new add setBg">
        <pc:chgData name="Tobias Brammer" userId="80a1e1bd-3b82-47a5-b259-da62a397db92" providerId="ADAL" clId="{344DCB79-8AE8-40A1-9FD2-3DFC52767FE3}" dt="2023-08-28T06:09:35.569" v="9"/>
        <pc:sldMkLst>
          <pc:docMk/>
          <pc:sldMk cId="735016182" sldId="314"/>
        </pc:sldMkLst>
      </pc:sldChg>
      <pc:sldChg chg="addSp delSp modSp new add del mod">
        <pc:chgData name="Tobias Brammer" userId="80a1e1bd-3b82-47a5-b259-da62a397db92" providerId="ADAL" clId="{344DCB79-8AE8-40A1-9FD2-3DFC52767FE3}" dt="2023-08-28T06:09:16.983" v="4" actId="47"/>
        <pc:sldMkLst>
          <pc:docMk/>
          <pc:sldMk cId="2845487471" sldId="314"/>
        </pc:sldMkLst>
        <pc:spChg chg="del">
          <ac:chgData name="Tobias Brammer" userId="80a1e1bd-3b82-47a5-b259-da62a397db92" providerId="ADAL" clId="{344DCB79-8AE8-40A1-9FD2-3DFC52767FE3}" dt="2023-08-28T06:08:59.558" v="2" actId="931"/>
          <ac:spMkLst>
            <pc:docMk/>
            <pc:sldMk cId="2845487471" sldId="314"/>
            <ac:spMk id="3" creationId="{942C603D-B724-C6FE-805B-E6E3F571A4F7}"/>
          </ac:spMkLst>
        </pc:spChg>
        <pc:spChg chg="add mod">
          <ac:chgData name="Tobias Brammer" userId="80a1e1bd-3b82-47a5-b259-da62a397db92" providerId="ADAL" clId="{344DCB79-8AE8-40A1-9FD2-3DFC52767FE3}" dt="2023-08-28T06:09:12.039" v="3" actId="478"/>
          <ac:spMkLst>
            <pc:docMk/>
            <pc:sldMk cId="2845487471" sldId="314"/>
            <ac:spMk id="7" creationId="{9D72878E-8720-914B-FE01-0751E1E10A9E}"/>
          </ac:spMkLst>
        </pc:spChg>
        <pc:picChg chg="add del mod">
          <ac:chgData name="Tobias Brammer" userId="80a1e1bd-3b82-47a5-b259-da62a397db92" providerId="ADAL" clId="{344DCB79-8AE8-40A1-9FD2-3DFC52767FE3}" dt="2023-08-28T06:09:12.039" v="3" actId="478"/>
          <ac:picMkLst>
            <pc:docMk/>
            <pc:sldMk cId="2845487471" sldId="314"/>
            <ac:picMk id="5" creationId="{48A6F261-F8BA-6C2F-6317-BCB3A4E64A07}"/>
          </ac:picMkLst>
        </pc:picChg>
      </pc:sldChg>
      <pc:sldChg chg="addSp delSp modSp new add mod">
        <pc:chgData name="Tobias Brammer" userId="80a1e1bd-3b82-47a5-b259-da62a397db92" providerId="ADAL" clId="{344DCB79-8AE8-40A1-9FD2-3DFC52767FE3}" dt="2023-08-28T07:02:36.826" v="965" actId="478"/>
        <pc:sldMkLst>
          <pc:docMk/>
          <pc:sldMk cId="221700835" sldId="315"/>
        </pc:sldMkLst>
        <pc:spChg chg="mod">
          <ac:chgData name="Tobias Brammer" userId="80a1e1bd-3b82-47a5-b259-da62a397db92" providerId="ADAL" clId="{344DCB79-8AE8-40A1-9FD2-3DFC52767FE3}" dt="2023-08-28T06:09:55.362" v="142" actId="948"/>
          <ac:spMkLst>
            <pc:docMk/>
            <pc:sldMk cId="221700835" sldId="315"/>
            <ac:spMk id="2" creationId="{FEB01B45-CB18-0453-F362-1BDBC9F30E79}"/>
          </ac:spMkLst>
        </pc:spChg>
        <pc:spChg chg="del">
          <ac:chgData name="Tobias Brammer" userId="80a1e1bd-3b82-47a5-b259-da62a397db92" providerId="ADAL" clId="{344DCB79-8AE8-40A1-9FD2-3DFC52767FE3}" dt="2023-08-28T06:10:17.520" v="186" actId="1032"/>
          <ac:spMkLst>
            <pc:docMk/>
            <pc:sldMk cId="221700835" sldId="315"/>
            <ac:spMk id="3" creationId="{77EBD04E-4825-CC3B-7C8E-D52CDA591D5B}"/>
          </ac:spMkLst>
        </pc:spChg>
        <pc:spChg chg="add del mod modVis">
          <ac:chgData name="Tobias Brammer" userId="80a1e1bd-3b82-47a5-b259-da62a397db92" providerId="ADAL" clId="{344DCB79-8AE8-40A1-9FD2-3DFC52767FE3}" dt="2023-08-28T06:09:45.612" v="85"/>
          <ac:spMkLst>
            <pc:docMk/>
            <pc:sldMk cId="221700835" sldId="315"/>
            <ac:spMk id="5" creationId="{DF4ACF51-A134-3842-46E6-9DA3576EF5C2}"/>
          </ac:spMkLst>
        </pc:spChg>
        <pc:spChg chg="add del mod modVis">
          <ac:chgData name="Tobias Brammer" userId="80a1e1bd-3b82-47a5-b259-da62a397db92" providerId="ADAL" clId="{344DCB79-8AE8-40A1-9FD2-3DFC52767FE3}" dt="2023-08-28T06:09:47.111" v="134"/>
          <ac:spMkLst>
            <pc:docMk/>
            <pc:sldMk cId="221700835" sldId="315"/>
            <ac:spMk id="6" creationId="{25DFC4EF-44B8-EEE5-C900-F2AAD885349D}"/>
          </ac:spMkLst>
        </pc:spChg>
        <pc:spChg chg="add del mod modVis">
          <ac:chgData name="Tobias Brammer" userId="80a1e1bd-3b82-47a5-b259-da62a397db92" providerId="ADAL" clId="{344DCB79-8AE8-40A1-9FD2-3DFC52767FE3}" dt="2023-08-28T06:09:55.392" v="183"/>
          <ac:spMkLst>
            <pc:docMk/>
            <pc:sldMk cId="221700835" sldId="315"/>
            <ac:spMk id="7" creationId="{597EB808-2015-0069-22BD-201AC8C25509}"/>
          </ac:spMkLst>
        </pc:spChg>
        <pc:spChg chg="add del mod">
          <ac:chgData name="Tobias Brammer" userId="80a1e1bd-3b82-47a5-b259-da62a397db92" providerId="ADAL" clId="{344DCB79-8AE8-40A1-9FD2-3DFC52767FE3}" dt="2023-08-28T06:53:30.747" v="891" actId="478"/>
          <ac:spMkLst>
            <pc:docMk/>
            <pc:sldMk cId="221700835" sldId="315"/>
            <ac:spMk id="9" creationId="{A27569DF-4367-D558-53DF-0D5B295DC5D3}"/>
          </ac:spMkLst>
        </pc:spChg>
        <pc:spChg chg="add del mod">
          <ac:chgData name="Tobias Brammer" userId="80a1e1bd-3b82-47a5-b259-da62a397db92" providerId="ADAL" clId="{344DCB79-8AE8-40A1-9FD2-3DFC52767FE3}" dt="2023-08-28T06:56:41.122" v="954" actId="164"/>
          <ac:spMkLst>
            <pc:docMk/>
            <pc:sldMk cId="221700835" sldId="315"/>
            <ac:spMk id="10" creationId="{F840F982-ECCC-AEB1-8FE2-5517E23B2A41}"/>
          </ac:spMkLst>
        </pc:spChg>
        <pc:spChg chg="add mod">
          <ac:chgData name="Tobias Brammer" userId="80a1e1bd-3b82-47a5-b259-da62a397db92" providerId="ADAL" clId="{344DCB79-8AE8-40A1-9FD2-3DFC52767FE3}" dt="2023-08-28T06:56:41.122" v="954" actId="164"/>
          <ac:spMkLst>
            <pc:docMk/>
            <pc:sldMk cId="221700835" sldId="315"/>
            <ac:spMk id="11" creationId="{510D6D01-5D8C-781C-D305-FF1663CE74FC}"/>
          </ac:spMkLst>
        </pc:spChg>
        <pc:spChg chg="add mod">
          <ac:chgData name="Tobias Brammer" userId="80a1e1bd-3b82-47a5-b259-da62a397db92" providerId="ADAL" clId="{344DCB79-8AE8-40A1-9FD2-3DFC52767FE3}" dt="2023-08-28T06:56:41.122" v="954" actId="164"/>
          <ac:spMkLst>
            <pc:docMk/>
            <pc:sldMk cId="221700835" sldId="315"/>
            <ac:spMk id="12" creationId="{74B3285F-F617-F848-40C7-32BB766F5374}"/>
          </ac:spMkLst>
        </pc:spChg>
        <pc:spChg chg="add mod">
          <ac:chgData name="Tobias Brammer" userId="80a1e1bd-3b82-47a5-b259-da62a397db92" providerId="ADAL" clId="{344DCB79-8AE8-40A1-9FD2-3DFC52767FE3}" dt="2023-08-28T06:56:41.122" v="954" actId="164"/>
          <ac:spMkLst>
            <pc:docMk/>
            <pc:sldMk cId="221700835" sldId="315"/>
            <ac:spMk id="13" creationId="{030F620B-E565-2DBE-641A-82E2A7483D29}"/>
          </ac:spMkLst>
        </pc:spChg>
        <pc:spChg chg="add mod">
          <ac:chgData name="Tobias Brammer" userId="80a1e1bd-3b82-47a5-b259-da62a397db92" providerId="ADAL" clId="{344DCB79-8AE8-40A1-9FD2-3DFC52767FE3}" dt="2023-08-28T07:02:25.461" v="963" actId="1035"/>
          <ac:spMkLst>
            <pc:docMk/>
            <pc:sldMk cId="221700835" sldId="315"/>
            <ac:spMk id="15" creationId="{EEDF6819-A7A1-70E7-F528-FB6F6E2B7029}"/>
          </ac:spMkLst>
        </pc:spChg>
        <pc:spChg chg="add del mod">
          <ac:chgData name="Tobias Brammer" userId="80a1e1bd-3b82-47a5-b259-da62a397db92" providerId="ADAL" clId="{344DCB79-8AE8-40A1-9FD2-3DFC52767FE3}" dt="2023-08-28T07:02:36.826" v="965" actId="478"/>
          <ac:spMkLst>
            <pc:docMk/>
            <pc:sldMk cId="221700835" sldId="315"/>
            <ac:spMk id="16" creationId="{9DB38510-1709-47C1-593B-85795E49E4B3}"/>
          </ac:spMkLst>
        </pc:spChg>
        <pc:grpChg chg="add mod">
          <ac:chgData name="Tobias Brammer" userId="80a1e1bd-3b82-47a5-b259-da62a397db92" providerId="ADAL" clId="{344DCB79-8AE8-40A1-9FD2-3DFC52767FE3}" dt="2023-08-28T06:56:41.122" v="954" actId="164"/>
          <ac:grpSpMkLst>
            <pc:docMk/>
            <pc:sldMk cId="221700835" sldId="315"/>
            <ac:grpSpMk id="14" creationId="{9ADFA423-FD1E-85F5-7809-8B05C9AB23BB}"/>
          </ac:grpSpMkLst>
        </pc:grpChg>
        <pc:graphicFrameChg chg="add mod ord modVis replST">
          <ac:chgData name="Tobias Brammer" userId="80a1e1bd-3b82-47a5-b259-da62a397db92" providerId="ADAL" clId="{344DCB79-8AE8-40A1-9FD2-3DFC52767FE3}" dt="2023-08-28T06:09:55.393" v="185"/>
          <ac:graphicFrameMkLst>
            <pc:docMk/>
            <pc:sldMk cId="221700835" sldId="315"/>
            <ac:graphicFrameMk id="4" creationId="{E3C52D54-EA6C-D7C8-3AD0-296DC90B0AC0}"/>
          </ac:graphicFrameMkLst>
        </pc:graphicFrameChg>
        <pc:graphicFrameChg chg="add mod modGraphic">
          <ac:chgData name="Tobias Brammer" userId="80a1e1bd-3b82-47a5-b259-da62a397db92" providerId="ADAL" clId="{344DCB79-8AE8-40A1-9FD2-3DFC52767FE3}" dt="2023-08-28T06:56:52.032" v="955" actId="313"/>
          <ac:graphicFrameMkLst>
            <pc:docMk/>
            <pc:sldMk cId="221700835" sldId="315"/>
            <ac:graphicFrameMk id="8" creationId="{6AAEAAE2-CE52-A52D-9994-3936EA107D06}"/>
          </ac:graphicFrameMkLst>
        </pc:graphicFrameChg>
      </pc:sldChg>
      <pc:sldChg chg="addSp delSp modSp new add mod">
        <pc:chgData name="Tobias Brammer" userId="80a1e1bd-3b82-47a5-b259-da62a397db92" providerId="ADAL" clId="{344DCB79-8AE8-40A1-9FD2-3DFC52767FE3}" dt="2023-08-28T07:25:38.256" v="1135"/>
        <pc:sldMkLst>
          <pc:docMk/>
          <pc:sldMk cId="984107870" sldId="316"/>
        </pc:sldMkLst>
        <pc:spChg chg="mod">
          <ac:chgData name="Tobias Brammer" userId="80a1e1bd-3b82-47a5-b259-da62a397db92" providerId="ADAL" clId="{344DCB79-8AE8-40A1-9FD2-3DFC52767FE3}" dt="2023-08-28T07:25:38.225" v="1092" actId="948"/>
          <ac:spMkLst>
            <pc:docMk/>
            <pc:sldMk cId="984107870" sldId="316"/>
            <ac:spMk id="2" creationId="{93A3E130-9533-0E36-0857-BC4D928C3A22}"/>
          </ac:spMkLst>
        </pc:spChg>
        <pc:spChg chg="add del mod modVis">
          <ac:chgData name="Tobias Brammer" userId="80a1e1bd-3b82-47a5-b259-da62a397db92" providerId="ADAL" clId="{344DCB79-8AE8-40A1-9FD2-3DFC52767FE3}" dt="2023-08-28T07:25:35.640" v="1037"/>
          <ac:spMkLst>
            <pc:docMk/>
            <pc:sldMk cId="984107870" sldId="316"/>
            <ac:spMk id="5" creationId="{7307DBE0-7DB2-07A1-B229-0D7484528BDF}"/>
          </ac:spMkLst>
        </pc:spChg>
        <pc:spChg chg="add del mod modVis">
          <ac:chgData name="Tobias Brammer" userId="80a1e1bd-3b82-47a5-b259-da62a397db92" providerId="ADAL" clId="{344DCB79-8AE8-40A1-9FD2-3DFC52767FE3}" dt="2023-08-28T07:25:37.530" v="1086"/>
          <ac:spMkLst>
            <pc:docMk/>
            <pc:sldMk cId="984107870" sldId="316"/>
            <ac:spMk id="6" creationId="{971ED1FC-FCD9-4B2F-FC13-28EDBB06C350}"/>
          </ac:spMkLst>
        </pc:spChg>
        <pc:spChg chg="add del mod modVis">
          <ac:chgData name="Tobias Brammer" userId="80a1e1bd-3b82-47a5-b259-da62a397db92" providerId="ADAL" clId="{344DCB79-8AE8-40A1-9FD2-3DFC52767FE3}" dt="2023-08-28T07:25:38.256" v="1133"/>
          <ac:spMkLst>
            <pc:docMk/>
            <pc:sldMk cId="984107870" sldId="316"/>
            <ac:spMk id="7" creationId="{92C6FF86-CD59-FF99-7E1E-74D9049FE4A7}"/>
          </ac:spMkLst>
        </pc:spChg>
        <pc:graphicFrameChg chg="add mod ord modVis replST">
          <ac:chgData name="Tobias Brammer" userId="80a1e1bd-3b82-47a5-b259-da62a397db92" providerId="ADAL" clId="{344DCB79-8AE8-40A1-9FD2-3DFC52767FE3}" dt="2023-08-28T07:25:38.256" v="1135"/>
          <ac:graphicFrameMkLst>
            <pc:docMk/>
            <pc:sldMk cId="984107870" sldId="316"/>
            <ac:graphicFrameMk id="4" creationId="{916B0171-55CA-34B6-3803-978FADA4CC7E}"/>
          </ac:graphicFrameMkLst>
        </pc:graphicFrameChg>
      </pc:sldChg>
      <pc:sldChg chg="addSp delSp modSp new add mod">
        <pc:chgData name="Tobias Brammer" userId="80a1e1bd-3b82-47a5-b259-da62a397db92" providerId="ADAL" clId="{344DCB79-8AE8-40A1-9FD2-3DFC52767FE3}" dt="2023-08-28T13:20:27.060" v="1168"/>
        <pc:sldMkLst>
          <pc:docMk/>
          <pc:sldMk cId="3397296693" sldId="317"/>
        </pc:sldMkLst>
        <pc:spChg chg="del">
          <ac:chgData name="Tobias Brammer" userId="80a1e1bd-3b82-47a5-b259-da62a397db92" providerId="ADAL" clId="{344DCB79-8AE8-40A1-9FD2-3DFC52767FE3}" dt="2023-08-28T13:20:26.545" v="1150" actId="478"/>
          <ac:spMkLst>
            <pc:docMk/>
            <pc:sldMk cId="3397296693" sldId="317"/>
            <ac:spMk id="2" creationId="{D34E364C-B701-4EF1-FF20-D01C7D08B3E6}"/>
          </ac:spMkLst>
        </pc:spChg>
        <pc:spChg chg="del">
          <ac:chgData name="Tobias Brammer" userId="80a1e1bd-3b82-47a5-b259-da62a397db92" providerId="ADAL" clId="{344DCB79-8AE8-40A1-9FD2-3DFC52767FE3}" dt="2023-08-28T13:19:55.997" v="1138"/>
          <ac:spMkLst>
            <pc:docMk/>
            <pc:sldMk cId="3397296693" sldId="317"/>
            <ac:spMk id="3" creationId="{0E0ABA47-6A2D-4338-12D1-C60FED175811}"/>
          </ac:spMkLst>
        </pc:spChg>
        <pc:graphicFrameChg chg="add mod ord modVis replST">
          <ac:chgData name="Tobias Brammer" userId="80a1e1bd-3b82-47a5-b259-da62a397db92" providerId="ADAL" clId="{344DCB79-8AE8-40A1-9FD2-3DFC52767FE3}" dt="2023-08-28T13:20:27.060" v="1168"/>
          <ac:graphicFrameMkLst>
            <pc:docMk/>
            <pc:sldMk cId="3397296693" sldId="317"/>
            <ac:graphicFrameMk id="6" creationId="{F5FE1D0F-2634-853A-8CB7-E60EF91E0658}"/>
          </ac:graphicFrameMkLst>
        </pc:graphicFrameChg>
        <pc:picChg chg="add mod">
          <ac:chgData name="Tobias Brammer" userId="80a1e1bd-3b82-47a5-b259-da62a397db92" providerId="ADAL" clId="{344DCB79-8AE8-40A1-9FD2-3DFC52767FE3}" dt="2023-08-28T13:20:24.370" v="1149" actId="1076"/>
          <ac:picMkLst>
            <pc:docMk/>
            <pc:sldMk cId="3397296693" sldId="317"/>
            <ac:picMk id="5" creationId="{3F90B2EF-94A9-6ADD-940C-1700EB1EAC82}"/>
          </ac:picMkLst>
        </pc:picChg>
      </pc:sldChg>
    </pc:docChg>
  </pc:docChgLst>
  <pc:docChgLst>
    <pc:chgData name="Tobias Brammer" userId="80a1e1bd-3b82-47a5-b259-da62a397db92" providerId="ADAL" clId="{1E3A7C41-47CF-4BFD-8C66-533AAAACACA8}"/>
    <pc:docChg chg="undo custSel addSld delSld modSld sldOrd modMainMaster modSection replTag modNotesMaster modHandout">
      <pc:chgData name="Tobias Brammer" userId="80a1e1bd-3b82-47a5-b259-da62a397db92" providerId="ADAL" clId="{1E3A7C41-47CF-4BFD-8C66-533AAAACACA8}" dt="2023-03-30T05:58:54.259" v="10631" actId="20577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8:48:53.556" v="943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8:48:53.556" v="943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30T05:58:54.259" v="10631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8T19:00:49.497" v="10374" actId="20577"/>
          <ac:spMkLst>
            <pc:docMk/>
            <pc:sldMk cId="2492524537" sldId="309"/>
            <ac:spMk id="3" creationId="{DBBA62F8-ABAB-0796-5D4F-277CA4383CB2}"/>
          </ac:spMkLst>
        </pc:spChg>
        <pc:spChg chg="add mod">
          <ac:chgData name="Tobias Brammer" userId="80a1e1bd-3b82-47a5-b259-da62a397db92" providerId="ADAL" clId="{1E3A7C41-47CF-4BFD-8C66-533AAAACACA8}" dt="2023-03-08T18:59:25.619" v="10267" actId="20577"/>
          <ac:spMkLst>
            <pc:docMk/>
            <pc:sldMk cId="2492524537" sldId="309"/>
            <ac:spMk id="5" creationId="{0256447C-D35F-4F86-D90B-E90F6B46AE7F}"/>
          </ac:spMkLst>
        </pc:spChg>
        <pc:spChg chg="mod">
          <ac:chgData name="Tobias Brammer" userId="80a1e1bd-3b82-47a5-b259-da62a397db92" providerId="ADAL" clId="{1E3A7C41-47CF-4BFD-8C66-533AAAACACA8}" dt="2023-03-30T05:58:54.259" v="10631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6:38.848" v="10486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9:06:38.848" v="10486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10:51.803" v="10575" actId="1076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3-08T19:10:15.739" v="10493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3-08T19:10:15.790" v="10534"/>
          <ac:spMkLst>
            <pc:docMk/>
            <pc:sldMk cId="637503088" sldId="313"/>
            <ac:spMk id="3" creationId="{0F5689F9-FD71-5AD3-42C8-191A123C5D04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3-08T19:10:15.806" v="10536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DDF79C-0679-4B77-903F-F5159112C320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B291EA5B-108F-468F-81F4-0AB115E5CDCD}">
      <dgm:prSet phldrT="[Tekst]"/>
      <dgm:spPr/>
      <dgm:t>
        <a:bodyPr/>
        <a:lstStyle/>
        <a:p>
          <a:r>
            <a:rPr lang="da-DK" dirty="0"/>
            <a:t>Ad-hoc</a:t>
          </a:r>
        </a:p>
      </dgm:t>
    </dgm:pt>
    <dgm:pt modelId="{842DE50A-CC5F-41D1-9FBD-5AF3353919CA}" type="parTrans" cxnId="{202CF78A-30B0-4DEC-B6A0-D64EBF460623}">
      <dgm:prSet/>
      <dgm:spPr/>
      <dgm:t>
        <a:bodyPr/>
        <a:lstStyle/>
        <a:p>
          <a:endParaRPr lang="da-DK"/>
        </a:p>
      </dgm:t>
    </dgm:pt>
    <dgm:pt modelId="{619573D2-FC4A-4456-AA5A-9DFAB464EC5F}" type="sibTrans" cxnId="{202CF78A-30B0-4DEC-B6A0-D64EBF460623}">
      <dgm:prSet/>
      <dgm:spPr/>
      <dgm:t>
        <a:bodyPr/>
        <a:lstStyle/>
        <a:p>
          <a:endParaRPr lang="da-DK"/>
        </a:p>
      </dgm:t>
    </dgm:pt>
    <dgm:pt modelId="{70D75540-046B-48A1-906A-876EB8CF486C}">
      <dgm:prSet phldrT="[Tekst]"/>
      <dgm:spPr/>
      <dgm:t>
        <a:bodyPr/>
        <a:lstStyle/>
        <a:p>
          <a:r>
            <a:rPr lang="da-DK" dirty="0"/>
            <a:t>Basal</a:t>
          </a:r>
        </a:p>
      </dgm:t>
    </dgm:pt>
    <dgm:pt modelId="{B01FD2D7-B730-4F3C-8E7A-F74FA766F706}" type="parTrans" cxnId="{AC4C670E-DF22-4056-BF7B-4ECBD8EE9902}">
      <dgm:prSet/>
      <dgm:spPr/>
      <dgm:t>
        <a:bodyPr/>
        <a:lstStyle/>
        <a:p>
          <a:endParaRPr lang="da-DK"/>
        </a:p>
      </dgm:t>
    </dgm:pt>
    <dgm:pt modelId="{CF559E31-3DC9-4356-964F-8A22BE3EAFD5}" type="sibTrans" cxnId="{AC4C670E-DF22-4056-BF7B-4ECBD8EE9902}">
      <dgm:prSet/>
      <dgm:spPr/>
      <dgm:t>
        <a:bodyPr/>
        <a:lstStyle/>
        <a:p>
          <a:endParaRPr lang="da-DK"/>
        </a:p>
      </dgm:t>
    </dgm:pt>
    <dgm:pt modelId="{5A703E0D-6005-425B-8CB9-9FD1BBD70F9F}">
      <dgm:prSet phldrT="[Tekst]"/>
      <dgm:spPr/>
      <dgm:t>
        <a:bodyPr/>
        <a:lstStyle/>
        <a:p>
          <a:r>
            <a:rPr lang="da-DK" dirty="0"/>
            <a:t>Defineret</a:t>
          </a:r>
        </a:p>
      </dgm:t>
    </dgm:pt>
    <dgm:pt modelId="{87FF5453-D19E-4845-AB11-3C4D9DF85C4E}" type="parTrans" cxnId="{B37D5F87-A47A-4B74-A742-BB81E6EAB43C}">
      <dgm:prSet/>
      <dgm:spPr/>
      <dgm:t>
        <a:bodyPr/>
        <a:lstStyle/>
        <a:p>
          <a:endParaRPr lang="da-DK"/>
        </a:p>
      </dgm:t>
    </dgm:pt>
    <dgm:pt modelId="{33EBE3D0-B2B2-4D80-9A23-3816231A0C9C}" type="sibTrans" cxnId="{B37D5F87-A47A-4B74-A742-BB81E6EAB43C}">
      <dgm:prSet/>
      <dgm:spPr/>
      <dgm:t>
        <a:bodyPr/>
        <a:lstStyle/>
        <a:p>
          <a:endParaRPr lang="da-DK"/>
        </a:p>
      </dgm:t>
    </dgm:pt>
    <dgm:pt modelId="{6443CE57-2EDE-4FCE-85BF-C16C0EFA0518}">
      <dgm:prSet phldrT="[Tekst]"/>
      <dgm:spPr/>
      <dgm:t>
        <a:bodyPr/>
        <a:lstStyle/>
        <a:p>
          <a:r>
            <a:rPr lang="da-DK" dirty="0"/>
            <a:t>Optimeret</a:t>
          </a:r>
        </a:p>
      </dgm:t>
    </dgm:pt>
    <dgm:pt modelId="{5F604EC8-0C56-4356-96C0-4934B43448F4}" type="parTrans" cxnId="{21A6E484-7A02-44FF-B28D-9A935BF37BEA}">
      <dgm:prSet/>
      <dgm:spPr/>
      <dgm:t>
        <a:bodyPr/>
        <a:lstStyle/>
        <a:p>
          <a:endParaRPr lang="da-DK"/>
        </a:p>
      </dgm:t>
    </dgm:pt>
    <dgm:pt modelId="{A54086E7-9225-4AB2-869C-E3E7200230DB}" type="sibTrans" cxnId="{21A6E484-7A02-44FF-B28D-9A935BF37BEA}">
      <dgm:prSet/>
      <dgm:spPr/>
      <dgm:t>
        <a:bodyPr/>
        <a:lstStyle/>
        <a:p>
          <a:endParaRPr lang="da-DK"/>
        </a:p>
      </dgm:t>
    </dgm:pt>
    <dgm:pt modelId="{03880EAB-E1AE-4CEF-8401-BFE7A9E2A673}">
      <dgm:prSet phldrT="[Tekst]"/>
      <dgm:spPr/>
      <dgm:t>
        <a:bodyPr/>
        <a:lstStyle/>
        <a:p>
          <a:r>
            <a:rPr lang="da-DK" dirty="0"/>
            <a:t>Forbedret</a:t>
          </a:r>
        </a:p>
      </dgm:t>
    </dgm:pt>
    <dgm:pt modelId="{150F6719-8533-4887-AEE9-86BDFDBF1D0C}" type="parTrans" cxnId="{758F73D8-63CC-40A3-B6A7-5AE461A62A2F}">
      <dgm:prSet/>
      <dgm:spPr/>
      <dgm:t>
        <a:bodyPr/>
        <a:lstStyle/>
        <a:p>
          <a:endParaRPr lang="da-DK"/>
        </a:p>
      </dgm:t>
    </dgm:pt>
    <dgm:pt modelId="{8416D967-406E-4EA7-B3EB-8C0149FA4E7D}" type="sibTrans" cxnId="{758F73D8-63CC-40A3-B6A7-5AE461A62A2F}">
      <dgm:prSet/>
      <dgm:spPr/>
      <dgm:t>
        <a:bodyPr/>
        <a:lstStyle/>
        <a:p>
          <a:endParaRPr lang="da-DK"/>
        </a:p>
      </dgm:t>
    </dgm:pt>
    <dgm:pt modelId="{A245200C-2A42-4D9B-9063-C4B6D836DC32}">
      <dgm:prSet phldrT="[Tekst]"/>
      <dgm:spPr/>
      <dgm:t>
        <a:bodyPr/>
        <a:lstStyle/>
        <a:p>
          <a:r>
            <a:rPr lang="da-DK" dirty="0"/>
            <a:t>Mange overraskelser</a:t>
          </a:r>
        </a:p>
      </dgm:t>
    </dgm:pt>
    <dgm:pt modelId="{073C4645-9764-4054-9269-AC7D8EBD9A5D}" type="parTrans" cxnId="{CFD7574E-7ACE-40F3-A34E-AA07EFE45F61}">
      <dgm:prSet/>
      <dgm:spPr/>
      <dgm:t>
        <a:bodyPr/>
        <a:lstStyle/>
        <a:p>
          <a:endParaRPr lang="da-DK"/>
        </a:p>
      </dgm:t>
    </dgm:pt>
    <dgm:pt modelId="{087CB63E-2969-4AEF-872A-3AC04F244251}" type="sibTrans" cxnId="{CFD7574E-7ACE-40F3-A34E-AA07EFE45F61}">
      <dgm:prSet/>
      <dgm:spPr/>
      <dgm:t>
        <a:bodyPr/>
        <a:lstStyle/>
        <a:p>
          <a:endParaRPr lang="da-DK"/>
        </a:p>
      </dgm:t>
    </dgm:pt>
    <dgm:pt modelId="{AF72CB45-F5CC-417C-A2BF-35BF585528C7}">
      <dgm:prSet phldrT="[Tekst]"/>
      <dgm:spPr/>
      <dgm:t>
        <a:bodyPr/>
        <a:lstStyle/>
        <a:p>
          <a:r>
            <a:rPr lang="da-DK" dirty="0"/>
            <a:t>Frustrerende proces</a:t>
          </a:r>
        </a:p>
      </dgm:t>
    </dgm:pt>
    <dgm:pt modelId="{18235A66-156E-4DB7-95ED-B59C1CD2992B}" type="parTrans" cxnId="{E33767FB-0F57-4ED5-899C-C07C12691502}">
      <dgm:prSet/>
      <dgm:spPr/>
      <dgm:t>
        <a:bodyPr/>
        <a:lstStyle/>
        <a:p>
          <a:endParaRPr lang="da-DK"/>
        </a:p>
      </dgm:t>
    </dgm:pt>
    <dgm:pt modelId="{58AAE927-C057-4ABB-A028-61A66F2F6D45}" type="sibTrans" cxnId="{E33767FB-0F57-4ED5-899C-C07C12691502}">
      <dgm:prSet/>
      <dgm:spPr/>
      <dgm:t>
        <a:bodyPr/>
        <a:lstStyle/>
        <a:p>
          <a:endParaRPr lang="da-DK"/>
        </a:p>
      </dgm:t>
    </dgm:pt>
    <dgm:pt modelId="{ABA28701-92C3-4A3F-95A3-B0BE3541452D}">
      <dgm:prSet phldrT="[Tekst]"/>
      <dgm:spPr/>
      <dgm:t>
        <a:bodyPr/>
        <a:lstStyle/>
        <a:p>
          <a:r>
            <a:rPr lang="da-DK" dirty="0"/>
            <a:t>Overfladisk proces</a:t>
          </a:r>
        </a:p>
      </dgm:t>
    </dgm:pt>
    <dgm:pt modelId="{3DE11FD0-0EE2-4A27-AAC9-712303624E9F}" type="parTrans" cxnId="{C31F4A80-67F8-429F-8AF1-79F671EDAEEA}">
      <dgm:prSet/>
      <dgm:spPr/>
      <dgm:t>
        <a:bodyPr/>
        <a:lstStyle/>
        <a:p>
          <a:endParaRPr lang="da-DK"/>
        </a:p>
      </dgm:t>
    </dgm:pt>
    <dgm:pt modelId="{742B09EA-97C8-497F-9961-A946685C8F61}" type="sibTrans" cxnId="{C31F4A80-67F8-429F-8AF1-79F671EDAEEA}">
      <dgm:prSet/>
      <dgm:spPr/>
      <dgm:t>
        <a:bodyPr/>
        <a:lstStyle/>
        <a:p>
          <a:endParaRPr lang="da-DK"/>
        </a:p>
      </dgm:t>
    </dgm:pt>
    <dgm:pt modelId="{FA406E98-B4E5-4982-9D1B-A1210AA4A952}">
      <dgm:prSet phldrT="[Tekst]"/>
      <dgm:spPr/>
      <dgm:t>
        <a:bodyPr/>
        <a:lstStyle/>
        <a:p>
          <a:r>
            <a:rPr lang="da-DK" dirty="0"/>
            <a:t>Inkonsekvent anvendelse</a:t>
          </a:r>
        </a:p>
      </dgm:t>
    </dgm:pt>
    <dgm:pt modelId="{09032E87-B115-496F-957E-9096D44C3B2A}" type="parTrans" cxnId="{0344E260-B8C6-4542-9442-29E3383BF819}">
      <dgm:prSet/>
      <dgm:spPr/>
      <dgm:t>
        <a:bodyPr/>
        <a:lstStyle/>
        <a:p>
          <a:endParaRPr lang="da-DK"/>
        </a:p>
      </dgm:t>
    </dgm:pt>
    <dgm:pt modelId="{D66EA8E1-94BE-4E00-82C9-4351CF855D8D}" type="sibTrans" cxnId="{0344E260-B8C6-4542-9442-29E3383BF819}">
      <dgm:prSet/>
      <dgm:spPr/>
      <dgm:t>
        <a:bodyPr/>
        <a:lstStyle/>
        <a:p>
          <a:endParaRPr lang="da-DK"/>
        </a:p>
      </dgm:t>
    </dgm:pt>
    <dgm:pt modelId="{5A5C3A72-B842-4077-9271-EEAA878809BE}">
      <dgm:prSet phldrT="[Tekst]"/>
      <dgm:spPr/>
      <dgm:t>
        <a:bodyPr/>
        <a:lstStyle/>
        <a:p>
          <a:r>
            <a:rPr lang="da-DK" dirty="0"/>
            <a:t>Dokumenteret proces</a:t>
          </a:r>
        </a:p>
      </dgm:t>
    </dgm:pt>
    <dgm:pt modelId="{AE78FCA8-5F71-43E3-9029-0652BA5A4BE3}" type="parTrans" cxnId="{9A44A0AD-2E9F-4D91-B570-2FC6E2C63E75}">
      <dgm:prSet/>
      <dgm:spPr/>
      <dgm:t>
        <a:bodyPr/>
        <a:lstStyle/>
        <a:p>
          <a:endParaRPr lang="da-DK"/>
        </a:p>
      </dgm:t>
    </dgm:pt>
    <dgm:pt modelId="{07D074F0-53E4-4206-A051-1544F633335C}" type="sibTrans" cxnId="{9A44A0AD-2E9F-4D91-B570-2FC6E2C63E75}">
      <dgm:prSet/>
      <dgm:spPr/>
      <dgm:t>
        <a:bodyPr/>
        <a:lstStyle/>
        <a:p>
          <a:endParaRPr lang="da-DK"/>
        </a:p>
      </dgm:t>
    </dgm:pt>
    <dgm:pt modelId="{A48A61FF-477D-4A55-B294-68B0626BE32C}">
      <dgm:prSet phldrT="[Tekst]"/>
      <dgm:spPr/>
      <dgm:t>
        <a:bodyPr/>
        <a:lstStyle/>
        <a:p>
          <a:r>
            <a:rPr lang="da-DK" dirty="0"/>
            <a:t>Begrænset prædiktivitet</a:t>
          </a:r>
        </a:p>
      </dgm:t>
    </dgm:pt>
    <dgm:pt modelId="{11DAC8CB-A3DF-4741-8927-68898A521C81}" type="parTrans" cxnId="{124CDCCD-7D0D-4799-8989-BF81C195A26B}">
      <dgm:prSet/>
      <dgm:spPr/>
      <dgm:t>
        <a:bodyPr/>
        <a:lstStyle/>
        <a:p>
          <a:endParaRPr lang="da-DK"/>
        </a:p>
      </dgm:t>
    </dgm:pt>
    <dgm:pt modelId="{F008BA07-36C3-4F30-A308-8A14274B03A2}" type="sibTrans" cxnId="{124CDCCD-7D0D-4799-8989-BF81C195A26B}">
      <dgm:prSet/>
      <dgm:spPr/>
      <dgm:t>
        <a:bodyPr/>
        <a:lstStyle/>
        <a:p>
          <a:endParaRPr lang="da-DK"/>
        </a:p>
      </dgm:t>
    </dgm:pt>
    <dgm:pt modelId="{4099013E-A6CD-4E84-AAC2-45195D10C649}">
      <dgm:prSet phldrT="[Tekst]"/>
      <dgm:spPr/>
      <dgm:t>
        <a:bodyPr/>
        <a:lstStyle/>
        <a:p>
          <a:r>
            <a:rPr lang="da-DK" dirty="0"/>
            <a:t>Basalt informationsgrundlag</a:t>
          </a:r>
        </a:p>
      </dgm:t>
    </dgm:pt>
    <dgm:pt modelId="{BE6DFCEA-FBB9-4518-B168-0B0E4C00A504}" type="parTrans" cxnId="{B9942EF6-893A-4F94-A68F-3D30B7B2706B}">
      <dgm:prSet/>
      <dgm:spPr/>
      <dgm:t>
        <a:bodyPr/>
        <a:lstStyle/>
        <a:p>
          <a:endParaRPr lang="da-DK"/>
        </a:p>
      </dgm:t>
    </dgm:pt>
    <dgm:pt modelId="{5ACC1C9D-9BBF-49FB-B700-B16ACCF04A25}" type="sibTrans" cxnId="{B9942EF6-893A-4F94-A68F-3D30B7B2706B}">
      <dgm:prSet/>
      <dgm:spPr/>
      <dgm:t>
        <a:bodyPr/>
        <a:lstStyle/>
        <a:p>
          <a:endParaRPr lang="da-DK"/>
        </a:p>
      </dgm:t>
    </dgm:pt>
    <dgm:pt modelId="{3458021A-15CE-49F1-8A0C-BA4A6D7DA023}">
      <dgm:prSet phldrT="[Tekst]"/>
      <dgm:spPr/>
      <dgm:t>
        <a:bodyPr/>
        <a:lstStyle/>
        <a:p>
          <a:r>
            <a:rPr lang="da-DK" dirty="0"/>
            <a:t>Risikostyring som primært værktøj</a:t>
          </a:r>
        </a:p>
      </dgm:t>
    </dgm:pt>
    <dgm:pt modelId="{60E7E53A-00A0-4D32-AC36-2FB33D7A73FB}" type="parTrans" cxnId="{4B6F5C5E-D2AB-4735-86FA-CF2D9ED5A6B1}">
      <dgm:prSet/>
      <dgm:spPr/>
      <dgm:t>
        <a:bodyPr/>
        <a:lstStyle/>
        <a:p>
          <a:endParaRPr lang="da-DK"/>
        </a:p>
      </dgm:t>
    </dgm:pt>
    <dgm:pt modelId="{F75183C3-981E-4FD6-9644-6E96232B3834}" type="sibTrans" cxnId="{4B6F5C5E-D2AB-4735-86FA-CF2D9ED5A6B1}">
      <dgm:prSet/>
      <dgm:spPr/>
      <dgm:t>
        <a:bodyPr/>
        <a:lstStyle/>
        <a:p>
          <a:endParaRPr lang="da-DK"/>
        </a:p>
      </dgm:t>
    </dgm:pt>
    <dgm:pt modelId="{122BD92A-4AE8-4FEF-A635-BF606E319F84}">
      <dgm:prSet phldrT="[Tekst]"/>
      <dgm:spPr/>
      <dgm:t>
        <a:bodyPr/>
        <a:lstStyle/>
        <a:p>
          <a:r>
            <a:rPr lang="da-DK" dirty="0"/>
            <a:t>Skræddersyet informationssæt</a:t>
          </a:r>
        </a:p>
      </dgm:t>
    </dgm:pt>
    <dgm:pt modelId="{C9F5BE02-2E75-41B7-ADDC-3063676867C6}" type="parTrans" cxnId="{14330A20-E990-4B1B-8CA6-790AAE5CB452}">
      <dgm:prSet/>
      <dgm:spPr/>
      <dgm:t>
        <a:bodyPr/>
        <a:lstStyle/>
        <a:p>
          <a:endParaRPr lang="da-DK"/>
        </a:p>
      </dgm:t>
    </dgm:pt>
    <dgm:pt modelId="{324FEA2F-8B1C-49D9-B0DA-0E2CC910E3F9}" type="sibTrans" cxnId="{14330A20-E990-4B1B-8CA6-790AAE5CB452}">
      <dgm:prSet/>
      <dgm:spPr/>
      <dgm:t>
        <a:bodyPr/>
        <a:lstStyle/>
        <a:p>
          <a:endParaRPr lang="da-DK"/>
        </a:p>
      </dgm:t>
    </dgm:pt>
    <dgm:pt modelId="{F08662A1-D164-4429-8EE3-760A7EF9334E}">
      <dgm:prSet phldrT="[Tekst]"/>
      <dgm:spPr/>
      <dgm:t>
        <a:bodyPr/>
        <a:lstStyle/>
        <a:p>
          <a:r>
            <a:rPr lang="da-DK" dirty="0"/>
            <a:t>En del af alle stadier</a:t>
          </a:r>
        </a:p>
      </dgm:t>
    </dgm:pt>
    <dgm:pt modelId="{3CF8B47E-68C7-48E3-B42C-0E43C8A6FC41}" type="parTrans" cxnId="{E4DD018A-66C5-4D95-8D7E-2BE29EC85598}">
      <dgm:prSet/>
      <dgm:spPr/>
      <dgm:t>
        <a:bodyPr/>
        <a:lstStyle/>
        <a:p>
          <a:endParaRPr lang="da-DK"/>
        </a:p>
      </dgm:t>
    </dgm:pt>
    <dgm:pt modelId="{E7C61421-DCC8-468E-ABFD-A114C3E1D4BB}" type="sibTrans" cxnId="{E4DD018A-66C5-4D95-8D7E-2BE29EC85598}">
      <dgm:prSet/>
      <dgm:spPr/>
      <dgm:t>
        <a:bodyPr/>
        <a:lstStyle/>
        <a:p>
          <a:endParaRPr lang="da-DK"/>
        </a:p>
      </dgm:t>
    </dgm:pt>
    <dgm:pt modelId="{426D4D61-2200-41F7-B3E8-A42684F6F6DA}">
      <dgm:prSet phldrT="[Tekst]"/>
      <dgm:spPr/>
      <dgm:t>
        <a:bodyPr/>
        <a:lstStyle/>
        <a:p>
          <a:r>
            <a:rPr lang="da-DK" dirty="0"/>
            <a:t>Fuldt integreret i projektstyring</a:t>
          </a:r>
        </a:p>
      </dgm:t>
    </dgm:pt>
    <dgm:pt modelId="{2BBFD79C-FCA1-44CE-BB08-78A64702FD2C}" type="parTrans" cxnId="{DAB65376-234E-4A7C-B0C1-2FBA8C7D22BF}">
      <dgm:prSet/>
      <dgm:spPr/>
      <dgm:t>
        <a:bodyPr/>
        <a:lstStyle/>
        <a:p>
          <a:endParaRPr lang="da-DK"/>
        </a:p>
      </dgm:t>
    </dgm:pt>
    <dgm:pt modelId="{5DBF21D5-E2FB-4164-94B6-06A9B1D1A269}" type="sibTrans" cxnId="{DAB65376-234E-4A7C-B0C1-2FBA8C7D22BF}">
      <dgm:prSet/>
      <dgm:spPr/>
      <dgm:t>
        <a:bodyPr/>
        <a:lstStyle/>
        <a:p>
          <a:endParaRPr lang="da-DK"/>
        </a:p>
      </dgm:t>
    </dgm:pt>
    <dgm:pt modelId="{E6E9FAF5-9832-4963-9CA8-228620534311}">
      <dgm:prSet phldrT="[Tekst]"/>
      <dgm:spPr/>
      <dgm:t>
        <a:bodyPr/>
        <a:lstStyle/>
        <a:p>
          <a:r>
            <a:rPr lang="da-DK" dirty="0"/>
            <a:t> Erfaringer er en del af informationssættet</a:t>
          </a:r>
        </a:p>
      </dgm:t>
    </dgm:pt>
    <dgm:pt modelId="{149AA359-17A2-4896-BB10-CF7F95F61CB1}" type="parTrans" cxnId="{8F572719-84F4-4D5D-B7D3-514F058813E4}">
      <dgm:prSet/>
      <dgm:spPr/>
      <dgm:t>
        <a:bodyPr/>
        <a:lstStyle/>
        <a:p>
          <a:endParaRPr lang="da-DK"/>
        </a:p>
      </dgm:t>
    </dgm:pt>
    <dgm:pt modelId="{E58BC052-637D-4A97-AEE5-B23A275D3D9F}" type="sibTrans" cxnId="{8F572719-84F4-4D5D-B7D3-514F058813E4}">
      <dgm:prSet/>
      <dgm:spPr/>
      <dgm:t>
        <a:bodyPr/>
        <a:lstStyle/>
        <a:p>
          <a:endParaRPr lang="da-DK"/>
        </a:p>
      </dgm:t>
    </dgm:pt>
    <dgm:pt modelId="{4D3627BD-FF85-417C-BF8D-CC8103FA3F42}">
      <dgm:prSet phldrT="[Tekst]"/>
      <dgm:spPr/>
      <dgm:t>
        <a:bodyPr/>
        <a:lstStyle/>
        <a:p>
          <a:r>
            <a:rPr lang="da-DK" dirty="0"/>
            <a:t>Heuristisk tilgang</a:t>
          </a:r>
        </a:p>
      </dgm:t>
    </dgm:pt>
    <dgm:pt modelId="{953976FC-54BB-47E8-A015-7A19897D9551}" type="parTrans" cxnId="{6C5AE377-A635-4075-A76B-7F0CDCF8BF4E}">
      <dgm:prSet/>
      <dgm:spPr/>
      <dgm:t>
        <a:bodyPr/>
        <a:lstStyle/>
        <a:p>
          <a:endParaRPr lang="da-DK"/>
        </a:p>
      </dgm:t>
    </dgm:pt>
    <dgm:pt modelId="{5CD6CFEC-8114-4F6E-B785-9FAB6397CFDC}" type="sibTrans" cxnId="{6C5AE377-A635-4075-A76B-7F0CDCF8BF4E}">
      <dgm:prSet/>
      <dgm:spPr/>
      <dgm:t>
        <a:bodyPr/>
        <a:lstStyle/>
        <a:p>
          <a:endParaRPr lang="da-DK"/>
        </a:p>
      </dgm:t>
    </dgm:pt>
    <dgm:pt modelId="{93FE4A71-440C-46D3-A7A9-806A95A02201}">
      <dgm:prSet phldrT="[Tekst]"/>
      <dgm:spPr/>
      <dgm:t>
        <a:bodyPr/>
        <a:lstStyle/>
        <a:p>
          <a:r>
            <a:rPr lang="da-DK" dirty="0"/>
            <a:t>Prædiktiv</a:t>
          </a:r>
        </a:p>
      </dgm:t>
    </dgm:pt>
    <dgm:pt modelId="{0F9DB0D0-3BE8-426F-9439-1FD823FB9DE3}" type="parTrans" cxnId="{189F3B82-1BA0-4DDA-B0BC-D8C735F26FF0}">
      <dgm:prSet/>
      <dgm:spPr/>
      <dgm:t>
        <a:bodyPr/>
        <a:lstStyle/>
        <a:p>
          <a:endParaRPr lang="da-DK"/>
        </a:p>
      </dgm:t>
    </dgm:pt>
    <dgm:pt modelId="{27C30D8A-CF49-4029-B3B9-FEEC0F28CCE7}" type="sibTrans" cxnId="{189F3B82-1BA0-4DDA-B0BC-D8C735F26FF0}">
      <dgm:prSet/>
      <dgm:spPr/>
      <dgm:t>
        <a:bodyPr/>
        <a:lstStyle/>
        <a:p>
          <a:endParaRPr lang="da-DK"/>
        </a:p>
      </dgm:t>
    </dgm:pt>
    <dgm:pt modelId="{020AC99A-E82A-48B6-A1A6-B42B014C1B3F}" type="pres">
      <dgm:prSet presAssocID="{61DDF79C-0679-4B77-903F-F5159112C320}" presName="rootnode" presStyleCnt="0">
        <dgm:presLayoutVars>
          <dgm:chMax/>
          <dgm:chPref/>
          <dgm:dir/>
          <dgm:animLvl val="lvl"/>
        </dgm:presLayoutVars>
      </dgm:prSet>
      <dgm:spPr/>
    </dgm:pt>
    <dgm:pt modelId="{EFCBC03E-C898-42DC-BD28-BBBC7AC6CBEC}" type="pres">
      <dgm:prSet presAssocID="{B291EA5B-108F-468F-81F4-0AB115E5CDCD}" presName="composite" presStyleCnt="0"/>
      <dgm:spPr/>
    </dgm:pt>
    <dgm:pt modelId="{798DC98E-2CE3-4E39-B696-0597D7AC353C}" type="pres">
      <dgm:prSet presAssocID="{B291EA5B-108F-468F-81F4-0AB115E5CDCD}" presName="LShape" presStyleLbl="alignNode1" presStyleIdx="0" presStyleCnt="9"/>
      <dgm:spPr/>
    </dgm:pt>
    <dgm:pt modelId="{27912ACC-C8CD-4EC9-B8D6-3B459D5DDF67}" type="pres">
      <dgm:prSet presAssocID="{B291EA5B-108F-468F-81F4-0AB115E5CDCD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E202950D-DE22-422D-A7AE-866055A30C39}" type="pres">
      <dgm:prSet presAssocID="{B291EA5B-108F-468F-81F4-0AB115E5CDCD}" presName="Triangle" presStyleLbl="alignNode1" presStyleIdx="1" presStyleCnt="9"/>
      <dgm:spPr/>
    </dgm:pt>
    <dgm:pt modelId="{DA57A956-117E-4D7E-84F7-39BA582746BD}" type="pres">
      <dgm:prSet presAssocID="{619573D2-FC4A-4456-AA5A-9DFAB464EC5F}" presName="sibTrans" presStyleCnt="0"/>
      <dgm:spPr/>
    </dgm:pt>
    <dgm:pt modelId="{5C518FE4-AEDF-4B4F-AFD3-E1E042020456}" type="pres">
      <dgm:prSet presAssocID="{619573D2-FC4A-4456-AA5A-9DFAB464EC5F}" presName="space" presStyleCnt="0"/>
      <dgm:spPr/>
    </dgm:pt>
    <dgm:pt modelId="{F8C73C7B-32D5-4352-9EF2-84FD41753397}" type="pres">
      <dgm:prSet presAssocID="{70D75540-046B-48A1-906A-876EB8CF486C}" presName="composite" presStyleCnt="0"/>
      <dgm:spPr/>
    </dgm:pt>
    <dgm:pt modelId="{524E5FA0-6CC2-4897-9176-261DA817850F}" type="pres">
      <dgm:prSet presAssocID="{70D75540-046B-48A1-906A-876EB8CF486C}" presName="LShape" presStyleLbl="alignNode1" presStyleIdx="2" presStyleCnt="9"/>
      <dgm:spPr/>
    </dgm:pt>
    <dgm:pt modelId="{BA660B64-91C9-4297-B972-AF021A799A66}" type="pres">
      <dgm:prSet presAssocID="{70D75540-046B-48A1-906A-876EB8CF486C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52342FFF-5BC4-4CDF-A5D3-3E591E66AF0B}" type="pres">
      <dgm:prSet presAssocID="{70D75540-046B-48A1-906A-876EB8CF486C}" presName="Triangle" presStyleLbl="alignNode1" presStyleIdx="3" presStyleCnt="9"/>
      <dgm:spPr/>
    </dgm:pt>
    <dgm:pt modelId="{572B5A7A-F66D-4934-A727-FF5DB3E19EC6}" type="pres">
      <dgm:prSet presAssocID="{CF559E31-3DC9-4356-964F-8A22BE3EAFD5}" presName="sibTrans" presStyleCnt="0"/>
      <dgm:spPr/>
    </dgm:pt>
    <dgm:pt modelId="{BD27F388-004C-4137-B1D5-2683BED7CE27}" type="pres">
      <dgm:prSet presAssocID="{CF559E31-3DC9-4356-964F-8A22BE3EAFD5}" presName="space" presStyleCnt="0"/>
      <dgm:spPr/>
    </dgm:pt>
    <dgm:pt modelId="{7F2A8B2A-57C6-4743-A2DF-0C69FEFA636A}" type="pres">
      <dgm:prSet presAssocID="{5A703E0D-6005-425B-8CB9-9FD1BBD70F9F}" presName="composite" presStyleCnt="0"/>
      <dgm:spPr/>
    </dgm:pt>
    <dgm:pt modelId="{33056C88-5FEB-4131-819C-7ACC213CFBA1}" type="pres">
      <dgm:prSet presAssocID="{5A703E0D-6005-425B-8CB9-9FD1BBD70F9F}" presName="LShape" presStyleLbl="alignNode1" presStyleIdx="4" presStyleCnt="9"/>
      <dgm:spPr/>
    </dgm:pt>
    <dgm:pt modelId="{00495AB8-F0D9-4BBB-9142-7266A6AD98AA}" type="pres">
      <dgm:prSet presAssocID="{5A703E0D-6005-425B-8CB9-9FD1BBD70F9F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1D9BF97-2E24-4696-BC9B-445728E6F27D}" type="pres">
      <dgm:prSet presAssocID="{5A703E0D-6005-425B-8CB9-9FD1BBD70F9F}" presName="Triangle" presStyleLbl="alignNode1" presStyleIdx="5" presStyleCnt="9"/>
      <dgm:spPr/>
    </dgm:pt>
    <dgm:pt modelId="{7598C6AF-4624-4AAE-AC8A-9D03DB863903}" type="pres">
      <dgm:prSet presAssocID="{33EBE3D0-B2B2-4D80-9A23-3816231A0C9C}" presName="sibTrans" presStyleCnt="0"/>
      <dgm:spPr/>
    </dgm:pt>
    <dgm:pt modelId="{D715839C-A328-440E-96F6-2C64A185CA9C}" type="pres">
      <dgm:prSet presAssocID="{33EBE3D0-B2B2-4D80-9A23-3816231A0C9C}" presName="space" presStyleCnt="0"/>
      <dgm:spPr/>
    </dgm:pt>
    <dgm:pt modelId="{68F8D5BD-F243-4566-963E-04F58C5F3C3E}" type="pres">
      <dgm:prSet presAssocID="{03880EAB-E1AE-4CEF-8401-BFE7A9E2A673}" presName="composite" presStyleCnt="0"/>
      <dgm:spPr/>
    </dgm:pt>
    <dgm:pt modelId="{35B1E50B-1113-4592-86B3-7C5CC18B261C}" type="pres">
      <dgm:prSet presAssocID="{03880EAB-E1AE-4CEF-8401-BFE7A9E2A673}" presName="LShape" presStyleLbl="alignNode1" presStyleIdx="6" presStyleCnt="9"/>
      <dgm:spPr/>
    </dgm:pt>
    <dgm:pt modelId="{947DFD22-535A-4DA4-B0EB-74275A61B7FA}" type="pres">
      <dgm:prSet presAssocID="{03880EAB-E1AE-4CEF-8401-BFE7A9E2A673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34EE07AC-B14B-4FE0-9FA7-2779925D7137}" type="pres">
      <dgm:prSet presAssocID="{03880EAB-E1AE-4CEF-8401-BFE7A9E2A673}" presName="Triangle" presStyleLbl="alignNode1" presStyleIdx="7" presStyleCnt="9"/>
      <dgm:spPr/>
    </dgm:pt>
    <dgm:pt modelId="{3F39D74A-B6C7-4CF3-9F44-108E133C3524}" type="pres">
      <dgm:prSet presAssocID="{8416D967-406E-4EA7-B3EB-8C0149FA4E7D}" presName="sibTrans" presStyleCnt="0"/>
      <dgm:spPr/>
    </dgm:pt>
    <dgm:pt modelId="{821C82E1-28D3-44F4-B84F-C55FDB96E452}" type="pres">
      <dgm:prSet presAssocID="{8416D967-406E-4EA7-B3EB-8C0149FA4E7D}" presName="space" presStyleCnt="0"/>
      <dgm:spPr/>
    </dgm:pt>
    <dgm:pt modelId="{A66F6B76-B57E-4DC6-9879-CBE47CBF61B9}" type="pres">
      <dgm:prSet presAssocID="{6443CE57-2EDE-4FCE-85BF-C16C0EFA0518}" presName="composite" presStyleCnt="0"/>
      <dgm:spPr/>
    </dgm:pt>
    <dgm:pt modelId="{B8303EDB-6C71-4DE4-95B7-CEDFA65131B5}" type="pres">
      <dgm:prSet presAssocID="{6443CE57-2EDE-4FCE-85BF-C16C0EFA0518}" presName="LShape" presStyleLbl="alignNode1" presStyleIdx="8" presStyleCnt="9"/>
      <dgm:spPr/>
    </dgm:pt>
    <dgm:pt modelId="{DC7663E1-4927-4F34-93A1-531014CF006E}" type="pres">
      <dgm:prSet presAssocID="{6443CE57-2EDE-4FCE-85BF-C16C0EFA0518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E7FF9205-996B-4944-9A7D-DB662E091713}" type="presOf" srcId="{AF72CB45-F5CC-417C-A2BF-35BF585528C7}" destId="{27912ACC-C8CD-4EC9-B8D6-3B459D5DDF67}" srcOrd="0" destOrd="2" presId="urn:microsoft.com/office/officeart/2009/3/layout/StepUpProcess"/>
    <dgm:cxn modelId="{B2DD720A-5AE2-4BE8-8C1F-F346093D8F68}" type="presOf" srcId="{03880EAB-E1AE-4CEF-8401-BFE7A9E2A673}" destId="{947DFD22-535A-4DA4-B0EB-74275A61B7FA}" srcOrd="0" destOrd="0" presId="urn:microsoft.com/office/officeart/2009/3/layout/StepUpProcess"/>
    <dgm:cxn modelId="{AC4C670E-DF22-4056-BF7B-4ECBD8EE9902}" srcId="{61DDF79C-0679-4B77-903F-F5159112C320}" destId="{70D75540-046B-48A1-906A-876EB8CF486C}" srcOrd="1" destOrd="0" parTransId="{B01FD2D7-B730-4F3C-8E7A-F74FA766F706}" sibTransId="{CF559E31-3DC9-4356-964F-8A22BE3EAFD5}"/>
    <dgm:cxn modelId="{3D7E7217-A456-42E0-A337-ACADDFEA7900}" type="presOf" srcId="{E6E9FAF5-9832-4963-9CA8-228620534311}" destId="{DC7663E1-4927-4F34-93A1-531014CF006E}" srcOrd="0" destOrd="2" presId="urn:microsoft.com/office/officeart/2009/3/layout/StepUpProcess"/>
    <dgm:cxn modelId="{8F572719-84F4-4D5D-B7D3-514F058813E4}" srcId="{6443CE57-2EDE-4FCE-85BF-C16C0EFA0518}" destId="{E6E9FAF5-9832-4963-9CA8-228620534311}" srcOrd="1" destOrd="0" parTransId="{149AA359-17A2-4896-BB10-CF7F95F61CB1}" sibTransId="{E58BC052-637D-4A97-AEE5-B23A275D3D9F}"/>
    <dgm:cxn modelId="{F79D3B1B-0862-40A7-92D8-792E24B1D53F}" type="presOf" srcId="{5A5C3A72-B842-4077-9271-EEAA878809BE}" destId="{00495AB8-F0D9-4BBB-9142-7266A6AD98AA}" srcOrd="0" destOrd="1" presId="urn:microsoft.com/office/officeart/2009/3/layout/StepUpProcess"/>
    <dgm:cxn modelId="{14330A20-E990-4B1B-8CA6-790AAE5CB452}" srcId="{03880EAB-E1AE-4CEF-8401-BFE7A9E2A673}" destId="{122BD92A-4AE8-4FEF-A635-BF606E319F84}" srcOrd="1" destOrd="0" parTransId="{C9F5BE02-2E75-41B7-ADDC-3063676867C6}" sibTransId="{324FEA2F-8B1C-49D9-B0DA-0E2CC910E3F9}"/>
    <dgm:cxn modelId="{CB3C032A-24B3-4E4B-B04C-BC6590664002}" type="presOf" srcId="{A48A61FF-477D-4A55-B294-68B0626BE32C}" destId="{00495AB8-F0D9-4BBB-9142-7266A6AD98AA}" srcOrd="0" destOrd="2" presId="urn:microsoft.com/office/officeart/2009/3/layout/StepUpProcess"/>
    <dgm:cxn modelId="{E3FF5232-0F57-42A3-9EBE-F21B9BEB3190}" type="presOf" srcId="{6443CE57-2EDE-4FCE-85BF-C16C0EFA0518}" destId="{DC7663E1-4927-4F34-93A1-531014CF006E}" srcOrd="0" destOrd="0" presId="urn:microsoft.com/office/officeart/2009/3/layout/StepUpProcess"/>
    <dgm:cxn modelId="{4B6F5C5E-D2AB-4735-86FA-CF2D9ED5A6B1}" srcId="{03880EAB-E1AE-4CEF-8401-BFE7A9E2A673}" destId="{3458021A-15CE-49F1-8A0C-BA4A6D7DA023}" srcOrd="0" destOrd="0" parTransId="{60E7E53A-00A0-4D32-AC36-2FB33D7A73FB}" sibTransId="{F75183C3-981E-4FD6-9644-6E96232B3834}"/>
    <dgm:cxn modelId="{0344E260-B8C6-4542-9442-29E3383BF819}" srcId="{70D75540-046B-48A1-906A-876EB8CF486C}" destId="{FA406E98-B4E5-4982-9D1B-A1210AA4A952}" srcOrd="1" destOrd="0" parTransId="{09032E87-B115-496F-957E-9096D44C3B2A}" sibTransId="{D66EA8E1-94BE-4E00-82C9-4351CF855D8D}"/>
    <dgm:cxn modelId="{A283F345-A484-46E2-8F74-673A26F61AA9}" type="presOf" srcId="{93FE4A71-440C-46D3-A7A9-806A95A02201}" destId="{DC7663E1-4927-4F34-93A1-531014CF006E}" srcOrd="0" destOrd="3" presId="urn:microsoft.com/office/officeart/2009/3/layout/StepUpProcess"/>
    <dgm:cxn modelId="{71764268-201F-405A-B8B5-80FBF257A9CE}" type="presOf" srcId="{A245200C-2A42-4D9B-9063-C4B6D836DC32}" destId="{27912ACC-C8CD-4EC9-B8D6-3B459D5DDF67}" srcOrd="0" destOrd="1" presId="urn:microsoft.com/office/officeart/2009/3/layout/StepUpProcess"/>
    <dgm:cxn modelId="{7B86256D-8D68-430E-8DA7-54990FEEE60D}" type="presOf" srcId="{ABA28701-92C3-4A3F-95A3-B0BE3541452D}" destId="{BA660B64-91C9-4297-B972-AF021A799A66}" srcOrd="0" destOrd="1" presId="urn:microsoft.com/office/officeart/2009/3/layout/StepUpProcess"/>
    <dgm:cxn modelId="{CFD7574E-7ACE-40F3-A34E-AA07EFE45F61}" srcId="{B291EA5B-108F-468F-81F4-0AB115E5CDCD}" destId="{A245200C-2A42-4D9B-9063-C4B6D836DC32}" srcOrd="0" destOrd="0" parTransId="{073C4645-9764-4054-9269-AC7D8EBD9A5D}" sibTransId="{087CB63E-2969-4AEF-872A-3AC04F244251}"/>
    <dgm:cxn modelId="{20C17F52-F0A5-4C70-B227-D27CC42CD9B7}" type="presOf" srcId="{4099013E-A6CD-4E84-AAC2-45195D10C649}" destId="{00495AB8-F0D9-4BBB-9142-7266A6AD98AA}" srcOrd="0" destOrd="3" presId="urn:microsoft.com/office/officeart/2009/3/layout/StepUpProcess"/>
    <dgm:cxn modelId="{DAB65376-234E-4A7C-B0C1-2FBA8C7D22BF}" srcId="{6443CE57-2EDE-4FCE-85BF-C16C0EFA0518}" destId="{426D4D61-2200-41F7-B3E8-A42684F6F6DA}" srcOrd="0" destOrd="0" parTransId="{2BBFD79C-FCA1-44CE-BB08-78A64702FD2C}" sibTransId="{5DBF21D5-E2FB-4164-94B6-06A9B1D1A269}"/>
    <dgm:cxn modelId="{6C5AE377-A635-4075-A76B-7F0CDCF8BF4E}" srcId="{5A703E0D-6005-425B-8CB9-9FD1BBD70F9F}" destId="{4D3627BD-FF85-417C-BF8D-CC8103FA3F42}" srcOrd="3" destOrd="0" parTransId="{953976FC-54BB-47E8-A015-7A19897D9551}" sibTransId="{5CD6CFEC-8114-4F6E-B785-9FAB6397CFDC}"/>
    <dgm:cxn modelId="{840F5258-64CD-4F6D-B781-3D38922C2D2C}" type="presOf" srcId="{FA406E98-B4E5-4982-9D1B-A1210AA4A952}" destId="{BA660B64-91C9-4297-B972-AF021A799A66}" srcOrd="0" destOrd="2" presId="urn:microsoft.com/office/officeart/2009/3/layout/StepUpProcess"/>
    <dgm:cxn modelId="{4312387F-D8F1-4748-84F0-44ACFF7A353A}" type="presOf" srcId="{B291EA5B-108F-468F-81F4-0AB115E5CDCD}" destId="{27912ACC-C8CD-4EC9-B8D6-3B459D5DDF67}" srcOrd="0" destOrd="0" presId="urn:microsoft.com/office/officeart/2009/3/layout/StepUpProcess"/>
    <dgm:cxn modelId="{C31F4A80-67F8-429F-8AF1-79F671EDAEEA}" srcId="{70D75540-046B-48A1-906A-876EB8CF486C}" destId="{ABA28701-92C3-4A3F-95A3-B0BE3541452D}" srcOrd="0" destOrd="0" parTransId="{3DE11FD0-0EE2-4A27-AAC9-712303624E9F}" sibTransId="{742B09EA-97C8-497F-9961-A946685C8F61}"/>
    <dgm:cxn modelId="{189F3B82-1BA0-4DDA-B0BC-D8C735F26FF0}" srcId="{6443CE57-2EDE-4FCE-85BF-C16C0EFA0518}" destId="{93FE4A71-440C-46D3-A7A9-806A95A02201}" srcOrd="2" destOrd="0" parTransId="{0F9DB0D0-3BE8-426F-9439-1FD823FB9DE3}" sibTransId="{27C30D8A-CF49-4029-B3B9-FEEC0F28CCE7}"/>
    <dgm:cxn modelId="{21A6E484-7A02-44FF-B28D-9A935BF37BEA}" srcId="{61DDF79C-0679-4B77-903F-F5159112C320}" destId="{6443CE57-2EDE-4FCE-85BF-C16C0EFA0518}" srcOrd="4" destOrd="0" parTransId="{5F604EC8-0C56-4356-96C0-4934B43448F4}" sibTransId="{A54086E7-9225-4AB2-869C-E3E7200230DB}"/>
    <dgm:cxn modelId="{B37D5F87-A47A-4B74-A742-BB81E6EAB43C}" srcId="{61DDF79C-0679-4B77-903F-F5159112C320}" destId="{5A703E0D-6005-425B-8CB9-9FD1BBD70F9F}" srcOrd="2" destOrd="0" parTransId="{87FF5453-D19E-4845-AB11-3C4D9DF85C4E}" sibTransId="{33EBE3D0-B2B2-4D80-9A23-3816231A0C9C}"/>
    <dgm:cxn modelId="{E4DD018A-66C5-4D95-8D7E-2BE29EC85598}" srcId="{03880EAB-E1AE-4CEF-8401-BFE7A9E2A673}" destId="{F08662A1-D164-4429-8EE3-760A7EF9334E}" srcOrd="2" destOrd="0" parTransId="{3CF8B47E-68C7-48E3-B42C-0E43C8A6FC41}" sibTransId="{E7C61421-DCC8-468E-ABFD-A114C3E1D4BB}"/>
    <dgm:cxn modelId="{202CF78A-30B0-4DEC-B6A0-D64EBF460623}" srcId="{61DDF79C-0679-4B77-903F-F5159112C320}" destId="{B291EA5B-108F-468F-81F4-0AB115E5CDCD}" srcOrd="0" destOrd="0" parTransId="{842DE50A-CC5F-41D1-9FBD-5AF3353919CA}" sibTransId="{619573D2-FC4A-4456-AA5A-9DFAB464EC5F}"/>
    <dgm:cxn modelId="{BF4F6492-B2DA-4A5C-B960-C7200B4ED74A}" type="presOf" srcId="{426D4D61-2200-41F7-B3E8-A42684F6F6DA}" destId="{DC7663E1-4927-4F34-93A1-531014CF006E}" srcOrd="0" destOrd="1" presId="urn:microsoft.com/office/officeart/2009/3/layout/StepUpProcess"/>
    <dgm:cxn modelId="{9A44A0AD-2E9F-4D91-B570-2FC6E2C63E75}" srcId="{5A703E0D-6005-425B-8CB9-9FD1BBD70F9F}" destId="{5A5C3A72-B842-4077-9271-EEAA878809BE}" srcOrd="0" destOrd="0" parTransId="{AE78FCA8-5F71-43E3-9029-0652BA5A4BE3}" sibTransId="{07D074F0-53E4-4206-A051-1544F633335C}"/>
    <dgm:cxn modelId="{FF45ECAD-2B17-479E-81D6-8546E0B086B0}" type="presOf" srcId="{5A703E0D-6005-425B-8CB9-9FD1BBD70F9F}" destId="{00495AB8-F0D9-4BBB-9142-7266A6AD98AA}" srcOrd="0" destOrd="0" presId="urn:microsoft.com/office/officeart/2009/3/layout/StepUpProcess"/>
    <dgm:cxn modelId="{6BA5CFBD-4A55-4480-A42B-329227F8E4B1}" type="presOf" srcId="{F08662A1-D164-4429-8EE3-760A7EF9334E}" destId="{947DFD22-535A-4DA4-B0EB-74275A61B7FA}" srcOrd="0" destOrd="3" presId="urn:microsoft.com/office/officeart/2009/3/layout/StepUpProcess"/>
    <dgm:cxn modelId="{8EC3C8C9-8B35-43F6-BDC6-2F2754A210FD}" type="presOf" srcId="{61DDF79C-0679-4B77-903F-F5159112C320}" destId="{020AC99A-E82A-48B6-A1A6-B42B014C1B3F}" srcOrd="0" destOrd="0" presId="urn:microsoft.com/office/officeart/2009/3/layout/StepUpProcess"/>
    <dgm:cxn modelId="{124CDCCD-7D0D-4799-8989-BF81C195A26B}" srcId="{5A703E0D-6005-425B-8CB9-9FD1BBD70F9F}" destId="{A48A61FF-477D-4A55-B294-68B0626BE32C}" srcOrd="1" destOrd="0" parTransId="{11DAC8CB-A3DF-4741-8927-68898A521C81}" sibTransId="{F008BA07-36C3-4F30-A308-8A14274B03A2}"/>
    <dgm:cxn modelId="{3CEB6CCF-7387-48EE-9735-A932C89729F9}" type="presOf" srcId="{3458021A-15CE-49F1-8A0C-BA4A6D7DA023}" destId="{947DFD22-535A-4DA4-B0EB-74275A61B7FA}" srcOrd="0" destOrd="1" presId="urn:microsoft.com/office/officeart/2009/3/layout/StepUpProcess"/>
    <dgm:cxn modelId="{758F73D8-63CC-40A3-B6A7-5AE461A62A2F}" srcId="{61DDF79C-0679-4B77-903F-F5159112C320}" destId="{03880EAB-E1AE-4CEF-8401-BFE7A9E2A673}" srcOrd="3" destOrd="0" parTransId="{150F6719-8533-4887-AEE9-86BDFDBF1D0C}" sibTransId="{8416D967-406E-4EA7-B3EB-8C0149FA4E7D}"/>
    <dgm:cxn modelId="{B51609DC-5FEC-4807-A946-4A76255965AC}" type="presOf" srcId="{70D75540-046B-48A1-906A-876EB8CF486C}" destId="{BA660B64-91C9-4297-B972-AF021A799A66}" srcOrd="0" destOrd="0" presId="urn:microsoft.com/office/officeart/2009/3/layout/StepUpProcess"/>
    <dgm:cxn modelId="{F3B170E7-45EE-4687-BA40-342932C4E501}" type="presOf" srcId="{4D3627BD-FF85-417C-BF8D-CC8103FA3F42}" destId="{00495AB8-F0D9-4BBB-9142-7266A6AD98AA}" srcOrd="0" destOrd="4" presId="urn:microsoft.com/office/officeart/2009/3/layout/StepUpProcess"/>
    <dgm:cxn modelId="{B9942EF6-893A-4F94-A68F-3D30B7B2706B}" srcId="{5A703E0D-6005-425B-8CB9-9FD1BBD70F9F}" destId="{4099013E-A6CD-4E84-AAC2-45195D10C649}" srcOrd="2" destOrd="0" parTransId="{BE6DFCEA-FBB9-4518-B168-0B0E4C00A504}" sibTransId="{5ACC1C9D-9BBF-49FB-B700-B16ACCF04A25}"/>
    <dgm:cxn modelId="{271AE6F7-2006-4ECE-8F4E-4682CF8F67D0}" type="presOf" srcId="{122BD92A-4AE8-4FEF-A635-BF606E319F84}" destId="{947DFD22-535A-4DA4-B0EB-74275A61B7FA}" srcOrd="0" destOrd="2" presId="urn:microsoft.com/office/officeart/2009/3/layout/StepUpProcess"/>
    <dgm:cxn modelId="{E33767FB-0F57-4ED5-899C-C07C12691502}" srcId="{B291EA5B-108F-468F-81F4-0AB115E5CDCD}" destId="{AF72CB45-F5CC-417C-A2BF-35BF585528C7}" srcOrd="1" destOrd="0" parTransId="{18235A66-156E-4DB7-95ED-B59C1CD2992B}" sibTransId="{58AAE927-C057-4ABB-A028-61A66F2F6D45}"/>
    <dgm:cxn modelId="{0AA93E39-544E-411C-8562-81B9308B9B6A}" type="presParOf" srcId="{020AC99A-E82A-48B6-A1A6-B42B014C1B3F}" destId="{EFCBC03E-C898-42DC-BD28-BBBC7AC6CBEC}" srcOrd="0" destOrd="0" presId="urn:microsoft.com/office/officeart/2009/3/layout/StepUpProcess"/>
    <dgm:cxn modelId="{0A6EEFE4-01AA-41AF-89A4-337F9E6EBFE2}" type="presParOf" srcId="{EFCBC03E-C898-42DC-BD28-BBBC7AC6CBEC}" destId="{798DC98E-2CE3-4E39-B696-0597D7AC353C}" srcOrd="0" destOrd="0" presId="urn:microsoft.com/office/officeart/2009/3/layout/StepUpProcess"/>
    <dgm:cxn modelId="{1A74468A-B6E3-4DEC-9FED-69F8EDCF2F8E}" type="presParOf" srcId="{EFCBC03E-C898-42DC-BD28-BBBC7AC6CBEC}" destId="{27912ACC-C8CD-4EC9-B8D6-3B459D5DDF67}" srcOrd="1" destOrd="0" presId="urn:microsoft.com/office/officeart/2009/3/layout/StepUpProcess"/>
    <dgm:cxn modelId="{E6D1168A-1E85-4FB2-A68A-8E5C8569687F}" type="presParOf" srcId="{EFCBC03E-C898-42DC-BD28-BBBC7AC6CBEC}" destId="{E202950D-DE22-422D-A7AE-866055A30C39}" srcOrd="2" destOrd="0" presId="urn:microsoft.com/office/officeart/2009/3/layout/StepUpProcess"/>
    <dgm:cxn modelId="{B6DC8C6F-AC0C-481E-BC6E-12D894ED6063}" type="presParOf" srcId="{020AC99A-E82A-48B6-A1A6-B42B014C1B3F}" destId="{DA57A956-117E-4D7E-84F7-39BA582746BD}" srcOrd="1" destOrd="0" presId="urn:microsoft.com/office/officeart/2009/3/layout/StepUpProcess"/>
    <dgm:cxn modelId="{AE9A7F38-0521-4EE1-8B96-539BA23BDFA2}" type="presParOf" srcId="{DA57A956-117E-4D7E-84F7-39BA582746BD}" destId="{5C518FE4-AEDF-4B4F-AFD3-E1E042020456}" srcOrd="0" destOrd="0" presId="urn:microsoft.com/office/officeart/2009/3/layout/StepUpProcess"/>
    <dgm:cxn modelId="{7006A364-037C-4197-B235-D43DAD241297}" type="presParOf" srcId="{020AC99A-E82A-48B6-A1A6-B42B014C1B3F}" destId="{F8C73C7B-32D5-4352-9EF2-84FD41753397}" srcOrd="2" destOrd="0" presId="urn:microsoft.com/office/officeart/2009/3/layout/StepUpProcess"/>
    <dgm:cxn modelId="{FD7031DC-DE35-4665-A8BF-E7D93422033A}" type="presParOf" srcId="{F8C73C7B-32D5-4352-9EF2-84FD41753397}" destId="{524E5FA0-6CC2-4897-9176-261DA817850F}" srcOrd="0" destOrd="0" presId="urn:microsoft.com/office/officeart/2009/3/layout/StepUpProcess"/>
    <dgm:cxn modelId="{B37A910B-AC0E-44B7-BB13-18BCF511C8B0}" type="presParOf" srcId="{F8C73C7B-32D5-4352-9EF2-84FD41753397}" destId="{BA660B64-91C9-4297-B972-AF021A799A66}" srcOrd="1" destOrd="0" presId="urn:microsoft.com/office/officeart/2009/3/layout/StepUpProcess"/>
    <dgm:cxn modelId="{73DC289A-0B47-48A9-8791-66B0164BCD3E}" type="presParOf" srcId="{F8C73C7B-32D5-4352-9EF2-84FD41753397}" destId="{52342FFF-5BC4-4CDF-A5D3-3E591E66AF0B}" srcOrd="2" destOrd="0" presId="urn:microsoft.com/office/officeart/2009/3/layout/StepUpProcess"/>
    <dgm:cxn modelId="{D7594706-E661-4A26-B5D1-3697A16DF4A9}" type="presParOf" srcId="{020AC99A-E82A-48B6-A1A6-B42B014C1B3F}" destId="{572B5A7A-F66D-4934-A727-FF5DB3E19EC6}" srcOrd="3" destOrd="0" presId="urn:microsoft.com/office/officeart/2009/3/layout/StepUpProcess"/>
    <dgm:cxn modelId="{DF6E2E84-F0FB-4B14-B45C-8174ACA5A9F0}" type="presParOf" srcId="{572B5A7A-F66D-4934-A727-FF5DB3E19EC6}" destId="{BD27F388-004C-4137-B1D5-2683BED7CE27}" srcOrd="0" destOrd="0" presId="urn:microsoft.com/office/officeart/2009/3/layout/StepUpProcess"/>
    <dgm:cxn modelId="{E29E17DC-0D6C-41E7-994D-6D508DE097DF}" type="presParOf" srcId="{020AC99A-E82A-48B6-A1A6-B42B014C1B3F}" destId="{7F2A8B2A-57C6-4743-A2DF-0C69FEFA636A}" srcOrd="4" destOrd="0" presId="urn:microsoft.com/office/officeart/2009/3/layout/StepUpProcess"/>
    <dgm:cxn modelId="{40F16FFC-42DD-4D20-9425-459092738C67}" type="presParOf" srcId="{7F2A8B2A-57C6-4743-A2DF-0C69FEFA636A}" destId="{33056C88-5FEB-4131-819C-7ACC213CFBA1}" srcOrd="0" destOrd="0" presId="urn:microsoft.com/office/officeart/2009/3/layout/StepUpProcess"/>
    <dgm:cxn modelId="{64C24C29-2660-456E-9A86-1EAAEBBC0D13}" type="presParOf" srcId="{7F2A8B2A-57C6-4743-A2DF-0C69FEFA636A}" destId="{00495AB8-F0D9-4BBB-9142-7266A6AD98AA}" srcOrd="1" destOrd="0" presId="urn:microsoft.com/office/officeart/2009/3/layout/StepUpProcess"/>
    <dgm:cxn modelId="{D71016C4-DC97-4FD1-9242-108CD3F2BAA8}" type="presParOf" srcId="{7F2A8B2A-57C6-4743-A2DF-0C69FEFA636A}" destId="{81D9BF97-2E24-4696-BC9B-445728E6F27D}" srcOrd="2" destOrd="0" presId="urn:microsoft.com/office/officeart/2009/3/layout/StepUpProcess"/>
    <dgm:cxn modelId="{DB061F37-7A85-46F3-80BC-962270431C8F}" type="presParOf" srcId="{020AC99A-E82A-48B6-A1A6-B42B014C1B3F}" destId="{7598C6AF-4624-4AAE-AC8A-9D03DB863903}" srcOrd="5" destOrd="0" presId="urn:microsoft.com/office/officeart/2009/3/layout/StepUpProcess"/>
    <dgm:cxn modelId="{0BF4E125-7C9E-4C95-A46E-F06BA1473694}" type="presParOf" srcId="{7598C6AF-4624-4AAE-AC8A-9D03DB863903}" destId="{D715839C-A328-440E-96F6-2C64A185CA9C}" srcOrd="0" destOrd="0" presId="urn:microsoft.com/office/officeart/2009/3/layout/StepUpProcess"/>
    <dgm:cxn modelId="{0991FF8C-F17B-4274-8F29-598994E121E7}" type="presParOf" srcId="{020AC99A-E82A-48B6-A1A6-B42B014C1B3F}" destId="{68F8D5BD-F243-4566-963E-04F58C5F3C3E}" srcOrd="6" destOrd="0" presId="urn:microsoft.com/office/officeart/2009/3/layout/StepUpProcess"/>
    <dgm:cxn modelId="{99785122-9BB1-4F95-B7A0-8F40C1FD42F1}" type="presParOf" srcId="{68F8D5BD-F243-4566-963E-04F58C5F3C3E}" destId="{35B1E50B-1113-4592-86B3-7C5CC18B261C}" srcOrd="0" destOrd="0" presId="urn:microsoft.com/office/officeart/2009/3/layout/StepUpProcess"/>
    <dgm:cxn modelId="{0EFE94F1-265A-4791-8A1C-91DC0F869C09}" type="presParOf" srcId="{68F8D5BD-F243-4566-963E-04F58C5F3C3E}" destId="{947DFD22-535A-4DA4-B0EB-74275A61B7FA}" srcOrd="1" destOrd="0" presId="urn:microsoft.com/office/officeart/2009/3/layout/StepUpProcess"/>
    <dgm:cxn modelId="{0EAF9164-EC90-4306-A3C5-4B9FCCE0B946}" type="presParOf" srcId="{68F8D5BD-F243-4566-963E-04F58C5F3C3E}" destId="{34EE07AC-B14B-4FE0-9FA7-2779925D7137}" srcOrd="2" destOrd="0" presId="urn:microsoft.com/office/officeart/2009/3/layout/StepUpProcess"/>
    <dgm:cxn modelId="{9EBD6528-8582-4F6D-B8F0-291978057F6F}" type="presParOf" srcId="{020AC99A-E82A-48B6-A1A6-B42B014C1B3F}" destId="{3F39D74A-B6C7-4CF3-9F44-108E133C3524}" srcOrd="7" destOrd="0" presId="urn:microsoft.com/office/officeart/2009/3/layout/StepUpProcess"/>
    <dgm:cxn modelId="{C21DBB57-50DF-450B-90EA-C6529293299F}" type="presParOf" srcId="{3F39D74A-B6C7-4CF3-9F44-108E133C3524}" destId="{821C82E1-28D3-44F4-B84F-C55FDB96E452}" srcOrd="0" destOrd="0" presId="urn:microsoft.com/office/officeart/2009/3/layout/StepUpProcess"/>
    <dgm:cxn modelId="{330BD29C-BA0A-432D-BA95-C9F6E5D82173}" type="presParOf" srcId="{020AC99A-E82A-48B6-A1A6-B42B014C1B3F}" destId="{A66F6B76-B57E-4DC6-9879-CBE47CBF61B9}" srcOrd="8" destOrd="0" presId="urn:microsoft.com/office/officeart/2009/3/layout/StepUpProcess"/>
    <dgm:cxn modelId="{FFE742E8-A8AA-44AE-A797-63E00985566E}" type="presParOf" srcId="{A66F6B76-B57E-4DC6-9879-CBE47CBF61B9}" destId="{B8303EDB-6C71-4DE4-95B7-CEDFA65131B5}" srcOrd="0" destOrd="0" presId="urn:microsoft.com/office/officeart/2009/3/layout/StepUpProcess"/>
    <dgm:cxn modelId="{757E3063-98FA-47D6-B5DC-9681044B3BE6}" type="presParOf" srcId="{A66F6B76-B57E-4DC6-9879-CBE47CBF61B9}" destId="{DC7663E1-4927-4F34-93A1-531014CF006E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8DC98E-2CE3-4E39-B696-0597D7AC353C}">
      <dsp:nvSpPr>
        <dsp:cNvPr id="0" name=""/>
        <dsp:cNvSpPr/>
      </dsp:nvSpPr>
      <dsp:spPr>
        <a:xfrm rot="5400000">
          <a:off x="402306" y="2342261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912ACC-C8CD-4EC9-B8D6-3B459D5DDF67}">
      <dsp:nvSpPr>
        <dsp:cNvPr id="0" name=""/>
        <dsp:cNvSpPr/>
      </dsp:nvSpPr>
      <dsp:spPr>
        <a:xfrm>
          <a:off x="201230" y="2941146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Ad-hoc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Mange overraskelser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Frustrerende proces</a:t>
          </a:r>
        </a:p>
      </dsp:txBody>
      <dsp:txXfrm>
        <a:off x="201230" y="2941146"/>
        <a:ext cx="1809588" cy="1586210"/>
      </dsp:txXfrm>
    </dsp:sp>
    <dsp:sp modelId="{E202950D-DE22-422D-A7AE-866055A30C39}">
      <dsp:nvSpPr>
        <dsp:cNvPr id="0" name=""/>
        <dsp:cNvSpPr/>
      </dsp:nvSpPr>
      <dsp:spPr>
        <a:xfrm>
          <a:off x="1669387" y="2194694"/>
          <a:ext cx="341431" cy="341431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4E5FA0-6CC2-4897-9176-261DA817850F}">
      <dsp:nvSpPr>
        <dsp:cNvPr id="0" name=""/>
        <dsp:cNvSpPr/>
      </dsp:nvSpPr>
      <dsp:spPr>
        <a:xfrm rot="5400000">
          <a:off x="2617595" y="1794085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660B64-91C9-4297-B972-AF021A799A66}">
      <dsp:nvSpPr>
        <dsp:cNvPr id="0" name=""/>
        <dsp:cNvSpPr/>
      </dsp:nvSpPr>
      <dsp:spPr>
        <a:xfrm>
          <a:off x="2416520" y="2392971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Basa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Overfladisk proc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Inkonsekvent anvendelse</a:t>
          </a:r>
        </a:p>
      </dsp:txBody>
      <dsp:txXfrm>
        <a:off x="2416520" y="2392971"/>
        <a:ext cx="1809588" cy="1586210"/>
      </dsp:txXfrm>
    </dsp:sp>
    <dsp:sp modelId="{52342FFF-5BC4-4CDF-A5D3-3E591E66AF0B}">
      <dsp:nvSpPr>
        <dsp:cNvPr id="0" name=""/>
        <dsp:cNvSpPr/>
      </dsp:nvSpPr>
      <dsp:spPr>
        <a:xfrm>
          <a:off x="3884677" y="1646519"/>
          <a:ext cx="341431" cy="341431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056C88-5FEB-4131-819C-7ACC213CFBA1}">
      <dsp:nvSpPr>
        <dsp:cNvPr id="0" name=""/>
        <dsp:cNvSpPr/>
      </dsp:nvSpPr>
      <dsp:spPr>
        <a:xfrm rot="5400000">
          <a:off x="4832885" y="1245909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495AB8-F0D9-4BBB-9142-7266A6AD98AA}">
      <dsp:nvSpPr>
        <dsp:cNvPr id="0" name=""/>
        <dsp:cNvSpPr/>
      </dsp:nvSpPr>
      <dsp:spPr>
        <a:xfrm>
          <a:off x="4631810" y="1844795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Definer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Dokumenteret proc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Begrænset prædiktivit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Basalt informationsgrundla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Heuristisk tilgang</a:t>
          </a:r>
        </a:p>
      </dsp:txBody>
      <dsp:txXfrm>
        <a:off x="4631810" y="1844795"/>
        <a:ext cx="1809588" cy="1586210"/>
      </dsp:txXfrm>
    </dsp:sp>
    <dsp:sp modelId="{81D9BF97-2E24-4696-BC9B-445728E6F27D}">
      <dsp:nvSpPr>
        <dsp:cNvPr id="0" name=""/>
        <dsp:cNvSpPr/>
      </dsp:nvSpPr>
      <dsp:spPr>
        <a:xfrm>
          <a:off x="6099966" y="1098343"/>
          <a:ext cx="341431" cy="341431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B1E50B-1113-4592-86B3-7C5CC18B261C}">
      <dsp:nvSpPr>
        <dsp:cNvPr id="0" name=""/>
        <dsp:cNvSpPr/>
      </dsp:nvSpPr>
      <dsp:spPr>
        <a:xfrm rot="5400000">
          <a:off x="7048175" y="697734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7DFD22-535A-4DA4-B0EB-74275A61B7FA}">
      <dsp:nvSpPr>
        <dsp:cNvPr id="0" name=""/>
        <dsp:cNvSpPr/>
      </dsp:nvSpPr>
      <dsp:spPr>
        <a:xfrm>
          <a:off x="6847099" y="1296619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Forbedr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Risikostyring som primært værktøj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Skræddersyet informationssæ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En del af alle stadier</a:t>
          </a:r>
        </a:p>
      </dsp:txBody>
      <dsp:txXfrm>
        <a:off x="6847099" y="1296619"/>
        <a:ext cx="1809588" cy="1586210"/>
      </dsp:txXfrm>
    </dsp:sp>
    <dsp:sp modelId="{34EE07AC-B14B-4FE0-9FA7-2779925D7137}">
      <dsp:nvSpPr>
        <dsp:cNvPr id="0" name=""/>
        <dsp:cNvSpPr/>
      </dsp:nvSpPr>
      <dsp:spPr>
        <a:xfrm>
          <a:off x="8315256" y="550167"/>
          <a:ext cx="341431" cy="341431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303EDB-6C71-4DE4-95B7-CEDFA65131B5}">
      <dsp:nvSpPr>
        <dsp:cNvPr id="0" name=""/>
        <dsp:cNvSpPr/>
      </dsp:nvSpPr>
      <dsp:spPr>
        <a:xfrm rot="5400000">
          <a:off x="9263465" y="149558"/>
          <a:ext cx="1204586" cy="200440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7663E1-4927-4F34-93A1-531014CF006E}">
      <dsp:nvSpPr>
        <dsp:cNvPr id="0" name=""/>
        <dsp:cNvSpPr/>
      </dsp:nvSpPr>
      <dsp:spPr>
        <a:xfrm>
          <a:off x="9062389" y="748444"/>
          <a:ext cx="1809588" cy="158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/>
            <a:t>Optimer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Fuldt integreret i projektsty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 Erfaringer er en del af informationssætt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200" kern="1200" dirty="0"/>
            <a:t>Prædiktiv</a:t>
          </a:r>
        </a:p>
      </dsp:txBody>
      <dsp:txXfrm>
        <a:off x="9062389" y="748444"/>
        <a:ext cx="1809588" cy="15862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8722" y="183849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92837" y="183849"/>
            <a:ext cx="2922506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>
                <a:solidFill>
                  <a:schemeClr val="accent1"/>
                </a:solidFill>
              </a:rPr>
              <a:t>28-08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721" y="9836188"/>
            <a:ext cx="2922002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93340" y="9836188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53521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28539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en-US" smtClean="0"/>
              <a:pPr/>
              <a:t>8/2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0" tIns="49535" rIns="99070" bIns="49535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522" y="4925408"/>
            <a:ext cx="6197021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3521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28539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770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63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541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1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1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6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2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1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19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18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60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32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10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16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virksomhed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87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180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Virksomhed</a:t>
            </a:r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435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79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telefonnummer (+45 xxxx xxxx</a:t>
            </a:r>
            <a:endParaRPr lang="en-US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 b="1">
                <a:solidFill>
                  <a:schemeClr val="bg1"/>
                </a:solidFill>
              </a:rPr>
              <a:t>NRGi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K-8200 Aarhus 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NRGi.dk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usager 2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email (xxxx@nrgi.dk</a:t>
            </a:r>
            <a:r>
              <a:rPr lang="en-US" sz="1200">
                <a:solidFill>
                  <a:schemeClr val="bg1"/>
                </a:solidFill>
              </a:rPr>
              <a:t>)</a:t>
            </a:r>
            <a:endParaRPr lang="en-US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41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915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48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65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601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9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5117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Klik for at redigere teksttypografierne i masteren</a:t>
            </a:r>
          </a:p>
          <a:p>
            <a:pPr lvl="1"/>
            <a:r>
              <a:rPr lang="en-US" noProof="0"/>
              <a:t>Andet niveau</a:t>
            </a:r>
          </a:p>
          <a:p>
            <a:pPr lvl="2"/>
            <a:r>
              <a:rPr lang="en-US" noProof="0"/>
              <a:t>Tredje niveau</a:t>
            </a:r>
          </a:p>
          <a:p>
            <a:pPr lvl="3"/>
            <a:r>
              <a:rPr lang="en-US" noProof="0"/>
              <a:t>Fjerde niveau</a:t>
            </a:r>
          </a:p>
          <a:p>
            <a:pPr lvl="4"/>
            <a:r>
              <a:rPr lang="en-US" noProof="0"/>
              <a:t>Femte niveau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7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5.bin"/><Relationship Id="rId9" Type="http://schemas.openxmlformats.org/officeDocument/2006/relationships/diagramColors" Target="../diagrams/colors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0.bin"/><Relationship Id="rId11" Type="http://schemas.openxmlformats.org/officeDocument/2006/relationships/image" Target="../media/image13.emf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.bin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28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 descr="Et billede, der indeholder person&#10;&#10;Automatisk genereret beskrivelse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t="25726" r="60730" b="41124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5922339" cy="1661993"/>
          </a:xfrm>
        </p:spPr>
        <p:txBody>
          <a:bodyPr vert="horz"/>
          <a:lstStyle/>
          <a:p>
            <a:r>
              <a:rPr lang="en-US" dirty="0"/>
              <a:t>Statistical Risk Manage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en-US" dirty="0"/>
              <a:t>Project-based Internship | Autumn 202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3C52D54-EA6C-D7C8-3AD0-296DC90B0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533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3C52D54-EA6C-D7C8-3AD0-296DC90B0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B01B45-CB18-0453-F362-1BDBC9F30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isk Maturity Model</a:t>
            </a:r>
          </a:p>
        </p:txBody>
      </p:sp>
      <p:graphicFrame>
        <p:nvGraphicFramePr>
          <p:cNvPr id="8" name="Pladsholder til indhold 7">
            <a:extLst>
              <a:ext uri="{FF2B5EF4-FFF2-40B4-BE49-F238E27FC236}">
                <a16:creationId xmlns:a16="http://schemas.microsoft.com/office/drawing/2014/main" id="{6AAEAAE2-CE52-A52D-9994-3936EA107D0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931132266"/>
              </p:ext>
            </p:extLst>
          </p:nvPr>
        </p:nvGraphicFramePr>
        <p:xfrm>
          <a:off x="982663" y="1089025"/>
          <a:ext cx="10874375" cy="5076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14" name="Gruppe 13">
            <a:extLst>
              <a:ext uri="{FF2B5EF4-FFF2-40B4-BE49-F238E27FC236}">
                <a16:creationId xmlns:a16="http://schemas.microsoft.com/office/drawing/2014/main" id="{9ADFA423-FD1E-85F5-7809-8B05C9AB23BB}"/>
              </a:ext>
            </a:extLst>
          </p:cNvPr>
          <p:cNvGrpSpPr/>
          <p:nvPr/>
        </p:nvGrpSpPr>
        <p:grpSpPr>
          <a:xfrm>
            <a:off x="982660" y="5229147"/>
            <a:ext cx="10874376" cy="923706"/>
            <a:chOff x="982660" y="5229147"/>
            <a:chExt cx="10874376" cy="923706"/>
          </a:xfrm>
        </p:grpSpPr>
        <p:sp>
          <p:nvSpPr>
            <p:cNvPr id="10" name="Rektangel 9">
              <a:extLst>
                <a:ext uri="{FF2B5EF4-FFF2-40B4-BE49-F238E27FC236}">
                  <a16:creationId xmlns:a16="http://schemas.microsoft.com/office/drawing/2014/main" id="{F840F982-ECCC-AEB1-8FE2-5517E23B2A41}"/>
                </a:ext>
              </a:extLst>
            </p:cNvPr>
            <p:cNvSpPr/>
            <p:nvPr/>
          </p:nvSpPr>
          <p:spPr>
            <a:xfrm>
              <a:off x="982660" y="5231032"/>
              <a:ext cx="10874375" cy="921821"/>
            </a:xfrm>
            <a:custGeom>
              <a:avLst/>
              <a:gdLst>
                <a:gd name="connsiteX0" fmla="*/ 0 w 10874375"/>
                <a:gd name="connsiteY0" fmla="*/ 0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  <a:gd name="connsiteX4" fmla="*/ 0 w 10874375"/>
                <a:gd name="connsiteY4" fmla="*/ 0 h 921821"/>
                <a:gd name="connsiteX0" fmla="*/ 5739788 w 10874375"/>
                <a:gd name="connsiteY0" fmla="*/ 528809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  <a:gd name="connsiteX4" fmla="*/ 5739788 w 10874375"/>
                <a:gd name="connsiteY4" fmla="*/ 528809 h 921821"/>
                <a:gd name="connsiteX0" fmla="*/ 5739788 w 10874375"/>
                <a:gd name="connsiteY0" fmla="*/ 535399 h 928411"/>
                <a:gd name="connsiteX1" fmla="*/ 10874375 w 10874375"/>
                <a:gd name="connsiteY1" fmla="*/ 6590 h 928411"/>
                <a:gd name="connsiteX2" fmla="*/ 10874375 w 10874375"/>
                <a:gd name="connsiteY2" fmla="*/ 928411 h 928411"/>
                <a:gd name="connsiteX3" fmla="*/ 0 w 10874375"/>
                <a:gd name="connsiteY3" fmla="*/ 928411 h 928411"/>
                <a:gd name="connsiteX4" fmla="*/ 5739788 w 10874375"/>
                <a:gd name="connsiteY4" fmla="*/ 535399 h 928411"/>
                <a:gd name="connsiteX0" fmla="*/ 0 w 10874375"/>
                <a:gd name="connsiteY0" fmla="*/ 921821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4375" h="921821">
                  <a:moveTo>
                    <a:pt x="0" y="921821"/>
                  </a:moveTo>
                  <a:lnTo>
                    <a:pt x="10874375" y="0"/>
                  </a:lnTo>
                  <a:lnTo>
                    <a:pt x="10874375" y="921821"/>
                  </a:lnTo>
                  <a:lnTo>
                    <a:pt x="0" y="921821"/>
                  </a:lnTo>
                  <a:close/>
                </a:path>
              </a:pathLst>
            </a:custGeom>
            <a:solidFill>
              <a:srgbClr val="006E64">
                <a:alpha val="2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l"/>
              <a:endParaRPr lang="da-DK"/>
            </a:p>
          </p:txBody>
        </p:sp>
        <p:sp>
          <p:nvSpPr>
            <p:cNvPr id="11" name="Rektangel 9">
              <a:extLst>
                <a:ext uri="{FF2B5EF4-FFF2-40B4-BE49-F238E27FC236}">
                  <a16:creationId xmlns:a16="http://schemas.microsoft.com/office/drawing/2014/main" id="{510D6D01-5D8C-781C-D305-FF1663CE74FC}"/>
                </a:ext>
              </a:extLst>
            </p:cNvPr>
            <p:cNvSpPr/>
            <p:nvPr/>
          </p:nvSpPr>
          <p:spPr>
            <a:xfrm rot="10800000">
              <a:off x="982661" y="5229147"/>
              <a:ext cx="10874375" cy="921821"/>
            </a:xfrm>
            <a:custGeom>
              <a:avLst/>
              <a:gdLst>
                <a:gd name="connsiteX0" fmla="*/ 0 w 10874375"/>
                <a:gd name="connsiteY0" fmla="*/ 0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  <a:gd name="connsiteX4" fmla="*/ 0 w 10874375"/>
                <a:gd name="connsiteY4" fmla="*/ 0 h 921821"/>
                <a:gd name="connsiteX0" fmla="*/ 5739788 w 10874375"/>
                <a:gd name="connsiteY0" fmla="*/ 528809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  <a:gd name="connsiteX4" fmla="*/ 5739788 w 10874375"/>
                <a:gd name="connsiteY4" fmla="*/ 528809 h 921821"/>
                <a:gd name="connsiteX0" fmla="*/ 5739788 w 10874375"/>
                <a:gd name="connsiteY0" fmla="*/ 535399 h 928411"/>
                <a:gd name="connsiteX1" fmla="*/ 10874375 w 10874375"/>
                <a:gd name="connsiteY1" fmla="*/ 6590 h 928411"/>
                <a:gd name="connsiteX2" fmla="*/ 10874375 w 10874375"/>
                <a:gd name="connsiteY2" fmla="*/ 928411 h 928411"/>
                <a:gd name="connsiteX3" fmla="*/ 0 w 10874375"/>
                <a:gd name="connsiteY3" fmla="*/ 928411 h 928411"/>
                <a:gd name="connsiteX4" fmla="*/ 5739788 w 10874375"/>
                <a:gd name="connsiteY4" fmla="*/ 535399 h 928411"/>
                <a:gd name="connsiteX0" fmla="*/ 0 w 10874375"/>
                <a:gd name="connsiteY0" fmla="*/ 921821 h 921821"/>
                <a:gd name="connsiteX1" fmla="*/ 10874375 w 10874375"/>
                <a:gd name="connsiteY1" fmla="*/ 0 h 921821"/>
                <a:gd name="connsiteX2" fmla="*/ 10874375 w 10874375"/>
                <a:gd name="connsiteY2" fmla="*/ 921821 h 921821"/>
                <a:gd name="connsiteX3" fmla="*/ 0 w 10874375"/>
                <a:gd name="connsiteY3" fmla="*/ 921821 h 921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74375" h="921821">
                  <a:moveTo>
                    <a:pt x="0" y="921821"/>
                  </a:moveTo>
                  <a:lnTo>
                    <a:pt x="10874375" y="0"/>
                  </a:lnTo>
                  <a:lnTo>
                    <a:pt x="10874375" y="921821"/>
                  </a:lnTo>
                  <a:lnTo>
                    <a:pt x="0" y="921821"/>
                  </a:lnTo>
                  <a:close/>
                </a:path>
              </a:pathLst>
            </a:custGeom>
            <a:solidFill>
              <a:srgbClr val="C17150">
                <a:alpha val="2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>
              <a:noAutofit/>
            </a:bodyPr>
            <a:lstStyle/>
            <a:p>
              <a:pPr algn="l"/>
              <a:endParaRPr lang="da-DK"/>
            </a:p>
          </p:txBody>
        </p:sp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74B3285F-F617-F848-40C7-32BB766F5374}"/>
                </a:ext>
              </a:extLst>
            </p:cNvPr>
            <p:cNvSpPr txBox="1"/>
            <p:nvPr/>
          </p:nvSpPr>
          <p:spPr>
            <a:xfrm>
              <a:off x="1101687" y="5354198"/>
              <a:ext cx="1685581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Ubelønnet risiko</a:t>
              </a:r>
            </a:p>
          </p:txBody>
        </p:sp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030F620B-E565-2DBE-641A-82E2A7483D29}"/>
                </a:ext>
              </a:extLst>
            </p:cNvPr>
            <p:cNvSpPr txBox="1"/>
            <p:nvPr/>
          </p:nvSpPr>
          <p:spPr>
            <a:xfrm>
              <a:off x="10229423" y="5757958"/>
              <a:ext cx="1517442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indent="0" algn="l">
                <a:buNone/>
              </a:pPr>
              <a:r>
                <a:rPr lang="da-DK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Belønnet risiko</a:t>
              </a:r>
            </a:p>
          </p:txBody>
        </p:sp>
      </p:grpSp>
      <p:sp>
        <p:nvSpPr>
          <p:cNvPr id="15" name="Pil: nedad 14">
            <a:extLst>
              <a:ext uri="{FF2B5EF4-FFF2-40B4-BE49-F238E27FC236}">
                <a16:creationId xmlns:a16="http://schemas.microsoft.com/office/drawing/2014/main" id="{EEDF6819-A7A1-70E7-F528-FB6F6E2B7029}"/>
              </a:ext>
            </a:extLst>
          </p:cNvPr>
          <p:cNvSpPr/>
          <p:nvPr/>
        </p:nvSpPr>
        <p:spPr>
          <a:xfrm>
            <a:off x="6302333" y="2180577"/>
            <a:ext cx="235027" cy="474488"/>
          </a:xfrm>
          <a:prstGeom prst="downArrow">
            <a:avLst/>
          </a:prstGeom>
          <a:solidFill>
            <a:schemeClr val="accent5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algn="l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700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45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 descr="Et billede, der indeholder person, mand, udendørs&#10;&#10;Automatisk genereret beskrivelse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13996" r="46840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222EA-31E5-4543-973D-6351289EEE35}"/>
              </a:ext>
            </a:extLst>
          </p:cNvPr>
          <p:cNvSpPr txBox="1">
            <a:spLocks/>
          </p:cNvSpPr>
          <p:nvPr/>
        </p:nvSpPr>
        <p:spPr>
          <a:xfrm>
            <a:off x="1899176" y="2359328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Motivation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787AB7F-95DA-4686-8C4E-D8E93F97EFAD}"/>
              </a:ext>
            </a:extLst>
          </p:cNvPr>
          <p:cNvSpPr txBox="1">
            <a:spLocks/>
          </p:cNvSpPr>
          <p:nvPr/>
        </p:nvSpPr>
        <p:spPr>
          <a:xfrm>
            <a:off x="982663" y="2022279"/>
            <a:ext cx="70051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1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8E492FCB-C2C0-467D-A668-B1FD59DC4F32}"/>
              </a:ext>
            </a:extLst>
          </p:cNvPr>
          <p:cNvSpPr txBox="1">
            <a:spLocks/>
          </p:cNvSpPr>
          <p:nvPr/>
        </p:nvSpPr>
        <p:spPr>
          <a:xfrm>
            <a:off x="1899176" y="3036770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Preliminary Problems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8140DF04-B4DC-4986-9C6D-DDE15FD1CA31}"/>
              </a:ext>
            </a:extLst>
          </p:cNvPr>
          <p:cNvSpPr txBox="1">
            <a:spLocks/>
          </p:cNvSpPr>
          <p:nvPr/>
        </p:nvSpPr>
        <p:spPr>
          <a:xfrm>
            <a:off x="992987" y="2699721"/>
            <a:ext cx="690189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2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CBA4467F-4AF6-4FDA-A3A1-6FFF686B5694}"/>
              </a:ext>
            </a:extLst>
          </p:cNvPr>
          <p:cNvSpPr txBox="1">
            <a:spLocks/>
          </p:cNvSpPr>
          <p:nvPr/>
        </p:nvSpPr>
        <p:spPr>
          <a:xfrm>
            <a:off x="1899176" y="3714212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8EF3D609-41B5-4A56-8942-7DC08C4DC25A}"/>
              </a:ext>
            </a:extLst>
          </p:cNvPr>
          <p:cNvSpPr txBox="1">
            <a:spLocks/>
          </p:cNvSpPr>
          <p:nvPr/>
        </p:nvSpPr>
        <p:spPr>
          <a:xfrm>
            <a:off x="1001002" y="3377163"/>
            <a:ext cx="682174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3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702BF8D8-1F1E-4939-B5E8-A6D1C6691326}"/>
              </a:ext>
            </a:extLst>
          </p:cNvPr>
          <p:cNvSpPr txBox="1">
            <a:spLocks/>
          </p:cNvSpPr>
          <p:nvPr/>
        </p:nvSpPr>
        <p:spPr>
          <a:xfrm>
            <a:off x="1899176" y="4391654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xpected Output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50C5CCBA-0874-4BEE-99C2-CC4082D3A1FF}"/>
              </a:ext>
            </a:extLst>
          </p:cNvPr>
          <p:cNvSpPr txBox="1">
            <a:spLocks/>
          </p:cNvSpPr>
          <p:nvPr/>
        </p:nvSpPr>
        <p:spPr>
          <a:xfrm>
            <a:off x="960221" y="4054605"/>
            <a:ext cx="72295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4</a:t>
            </a:r>
            <a:endParaRPr lang="en-US" sz="5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22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 Contracting Division at ELCON is a large part of the business model and plays key role in the overall strategy. </a:t>
            </a:r>
          </a:p>
          <a:p>
            <a:pPr lvl="2"/>
            <a:r>
              <a:rPr lang="en-US" dirty="0"/>
              <a:t>At ELCON, contracting involves all the electrical work in building under construction, often involving fire systems, HVAC, and more.</a:t>
            </a:r>
          </a:p>
          <a:p>
            <a:pPr lvl="2"/>
            <a:r>
              <a:rPr lang="en-US" dirty="0"/>
              <a:t>ELCON is among the few electrical contractors in Denmark who have the capacity to work on large projects spanning over several years. </a:t>
            </a:r>
          </a:p>
          <a:p>
            <a:r>
              <a:rPr lang="en-US" dirty="0"/>
              <a:t>In 2022, Contracting accounted for 25% of total revenue and had a 43% total effect on EBIT.</a:t>
            </a:r>
          </a:p>
          <a:p>
            <a:pPr lvl="2"/>
            <a:r>
              <a:rPr lang="en-US" dirty="0"/>
              <a:t>Contracting is ripe with risk and the margin for error is small.</a:t>
            </a:r>
          </a:p>
          <a:p>
            <a:pPr lvl="2"/>
            <a:r>
              <a:rPr lang="en-US" dirty="0"/>
              <a:t>Contracting has great influence on ELCON’s overall finances.</a:t>
            </a:r>
          </a:p>
          <a:p>
            <a:r>
              <a:rPr lang="en-US" dirty="0"/>
              <a:t>Currently, there is no formal statistical model in place to evaluate these risks, and all risk assessments, provisions, and impairments are based on a subjective assessment backed by fundamental calculations.</a:t>
            </a:r>
          </a:p>
          <a:p>
            <a:r>
              <a:rPr lang="en-US" dirty="0"/>
              <a:t>A model based on a sound statistical foundation can turn hard facts into clear stories, and support the management at ELCON.</a:t>
            </a:r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367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946590A-DCFA-480E-9973-032781667C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27905" y="1611103"/>
            <a:ext cx="2448594" cy="2480679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Identify Key Risk Indicators (KRIs)</a:t>
            </a:r>
          </a:p>
          <a:p>
            <a:pPr marL="0" indent="0">
              <a:buNone/>
            </a:pPr>
            <a:r>
              <a:rPr lang="en-US" sz="1600" dirty="0"/>
              <a:t>Identification of indicators is based on statistical analyses and a priori knowledge.</a:t>
            </a:r>
          </a:p>
          <a:p>
            <a:pPr marL="0" indent="0">
              <a:buNone/>
            </a:pPr>
            <a:r>
              <a:rPr lang="en-US" sz="1600" dirty="0"/>
              <a:t>Defining the right KRIs will be essential, and tests must be conducted to be sure inference can be drawn from the indicators.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B313780-1FD1-47D9-8FAE-3FEDD5BED7B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56580" y="1611103"/>
            <a:ext cx="2448594" cy="325627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Utilize Machine Learning Methods to Highlight Causal Effects</a:t>
            </a:r>
          </a:p>
          <a:p>
            <a:pPr marL="0" indent="0">
              <a:buNone/>
            </a:pPr>
            <a:r>
              <a:rPr lang="en-US" sz="1600" dirty="0"/>
              <a:t>Each project is unique and drawing on the benefits from ML allows for a standardized model capable of adapting to different circumstances.</a:t>
            </a:r>
          </a:p>
          <a:p>
            <a:pPr marL="0" indent="0">
              <a:buNone/>
            </a:pPr>
            <a:r>
              <a:rPr lang="en-US" sz="1600" dirty="0"/>
              <a:t>ML will somewhat futureproof the analyses conducted and allows use beyond this project.</a:t>
            </a:r>
            <a:endParaRPr lang="en-US" dirty="0"/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A26BD07B-B36A-46BD-8B09-8347D40D54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58990" y="1611103"/>
            <a:ext cx="2448594" cy="3499420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Construct Dashboard with KPIs and KRIs of Risky Projects</a:t>
            </a:r>
          </a:p>
          <a:p>
            <a:pPr marL="0" indent="0">
              <a:buNone/>
            </a:pPr>
            <a:r>
              <a:rPr lang="en-US" sz="1600" dirty="0"/>
              <a:t>A simple dashboard allows for quick assessment and action. </a:t>
            </a:r>
          </a:p>
          <a:p>
            <a:pPr marL="0" indent="0">
              <a:buNone/>
            </a:pPr>
            <a:r>
              <a:rPr lang="en-US" sz="1600" dirty="0"/>
              <a:t>Interpretability is of the essence since the targeted end users are not required an in depth understanding of statistics. </a:t>
            </a:r>
          </a:p>
          <a:p>
            <a:pPr marL="0" indent="0">
              <a:buNone/>
            </a:pPr>
            <a:r>
              <a:rPr lang="en-US" sz="1600" dirty="0"/>
              <a:t>The mantra: “Hard facts, clear stories” should be lived by.</a:t>
            </a:r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A55C507-1CA4-403F-85AA-068A599400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71979" y="1611103"/>
            <a:ext cx="2448594" cy="2757678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Develop Time Series Model with Actuals, KPIs and KRIs</a:t>
            </a:r>
          </a:p>
          <a:p>
            <a:pPr marL="0" indent="0">
              <a:buNone/>
            </a:pPr>
            <a:r>
              <a:rPr lang="en-US" sz="1600" dirty="0"/>
              <a:t>A time series model is essential, since it allows project managers to monitor changes in a project.</a:t>
            </a:r>
          </a:p>
          <a:p>
            <a:pPr marL="0" indent="0">
              <a:buNone/>
            </a:pPr>
            <a:r>
              <a:rPr lang="en-US" sz="1600" dirty="0"/>
              <a:t>Model should include materials, hours worked, billable rate, invoiced amounts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FCC3E6C0-5D07-41B1-BF2D-D07463968082}"/>
              </a:ext>
            </a:extLst>
          </p:cNvPr>
          <p:cNvSpPr txBox="1">
            <a:spLocks/>
          </p:cNvSpPr>
          <p:nvPr/>
        </p:nvSpPr>
        <p:spPr>
          <a:xfrm>
            <a:off x="728664" y="863206"/>
            <a:ext cx="45525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A</a:t>
            </a:r>
          </a:p>
        </p:txBody>
      </p:sp>
      <p:sp>
        <p:nvSpPr>
          <p:cNvPr id="11" name="TextBox 5 - 2">
            <a:extLst>
              <a:ext uri="{FF2B5EF4-FFF2-40B4-BE49-F238E27FC236}">
                <a16:creationId xmlns:a16="http://schemas.microsoft.com/office/drawing/2014/main" id="{F2D1ABE1-5DEA-4BC7-A383-C87624EBC8FE}"/>
              </a:ext>
            </a:extLst>
          </p:cNvPr>
          <p:cNvSpPr txBox="1">
            <a:spLocks/>
          </p:cNvSpPr>
          <p:nvPr/>
        </p:nvSpPr>
        <p:spPr>
          <a:xfrm>
            <a:off x="6064561" y="863206"/>
            <a:ext cx="403957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C</a:t>
            </a:r>
          </a:p>
        </p:txBody>
      </p:sp>
      <p:sp>
        <p:nvSpPr>
          <p:cNvPr id="12" name="TextBox 5 - 1">
            <a:extLst>
              <a:ext uri="{FF2B5EF4-FFF2-40B4-BE49-F238E27FC236}">
                <a16:creationId xmlns:a16="http://schemas.microsoft.com/office/drawing/2014/main" id="{2E5DBFB2-6254-4D85-BA12-9421EF5CB27B}"/>
              </a:ext>
            </a:extLst>
          </p:cNvPr>
          <p:cNvSpPr txBox="1">
            <a:spLocks/>
          </p:cNvSpPr>
          <p:nvPr/>
        </p:nvSpPr>
        <p:spPr>
          <a:xfrm>
            <a:off x="3408635" y="863206"/>
            <a:ext cx="431208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B</a:t>
            </a:r>
          </a:p>
        </p:txBody>
      </p:sp>
      <p:sp>
        <p:nvSpPr>
          <p:cNvPr id="13" name="TextBox 5 - 3">
            <a:extLst>
              <a:ext uri="{FF2B5EF4-FFF2-40B4-BE49-F238E27FC236}">
                <a16:creationId xmlns:a16="http://schemas.microsoft.com/office/drawing/2014/main" id="{E13D7B49-6DD3-43C3-9A2E-E2BA90A74A41}"/>
              </a:ext>
            </a:extLst>
          </p:cNvPr>
          <p:cNvSpPr txBox="1">
            <a:spLocks/>
          </p:cNvSpPr>
          <p:nvPr/>
        </p:nvSpPr>
        <p:spPr>
          <a:xfrm>
            <a:off x="8693236" y="863206"/>
            <a:ext cx="47769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D5074D-D1F9-B9F7-DACD-88F097B4D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/>
          <a:lstStyle/>
          <a:p>
            <a:r>
              <a:rPr lang="en-US" dirty="0"/>
              <a:t>Preliminary Problems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78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952624"/>
            <a:ext cx="4847686" cy="4337051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Data Analysis Methods</a:t>
            </a:r>
          </a:p>
          <a:p>
            <a:r>
              <a:rPr lang="en-US" dirty="0"/>
              <a:t>Factor Analysis</a:t>
            </a:r>
          </a:p>
          <a:p>
            <a:pPr lvl="1"/>
            <a:r>
              <a:rPr lang="en-US" sz="1600" dirty="0"/>
              <a:t>Reduce dimensions from the get-go and establish a more manageable dataset. </a:t>
            </a:r>
          </a:p>
          <a:p>
            <a:r>
              <a:rPr lang="en-US" dirty="0"/>
              <a:t>Random Forest </a:t>
            </a:r>
          </a:p>
          <a:p>
            <a:pPr lvl="1"/>
            <a:r>
              <a:rPr lang="en-US" sz="1600" dirty="0"/>
              <a:t>Serves as a proof of concept for the use of Machine Learning Methods.</a:t>
            </a:r>
          </a:p>
          <a:p>
            <a:r>
              <a:rPr lang="en-US" dirty="0"/>
              <a:t>PLS-SEM</a:t>
            </a:r>
          </a:p>
          <a:p>
            <a:pPr lvl="1"/>
            <a:r>
              <a:rPr lang="en-US" sz="1600" dirty="0"/>
              <a:t>Relation between latent variables and observed data.</a:t>
            </a:r>
          </a:p>
          <a:p>
            <a:r>
              <a:rPr lang="en-US" dirty="0" err="1"/>
              <a:t>AutoML</a:t>
            </a:r>
            <a:endParaRPr lang="en-US" dirty="0"/>
          </a:p>
          <a:p>
            <a:pPr lvl="1"/>
            <a:r>
              <a:rPr lang="en-US" sz="1600" dirty="0"/>
              <a:t>Blackbox ML allows ELCON to continue using the methods developed without expert knowledge of statistics and ML.</a:t>
            </a:r>
            <a:endParaRPr lang="en-US" sz="1400" dirty="0"/>
          </a:p>
          <a:p>
            <a:pPr lvl="1"/>
            <a:endParaRPr lang="en-US" sz="1600" dirty="0"/>
          </a:p>
        </p:txBody>
      </p:sp>
      <p:sp>
        <p:nvSpPr>
          <p:cNvPr id="3" name="Pladsholder til indhold 5">
            <a:extLst>
              <a:ext uri="{FF2B5EF4-FFF2-40B4-BE49-F238E27FC236}">
                <a16:creationId xmlns:a16="http://schemas.microsoft.com/office/drawing/2014/main" id="{DBBA62F8-ABAB-0796-5D4F-277CA4383CB2}"/>
              </a:ext>
            </a:extLst>
          </p:cNvPr>
          <p:cNvSpPr txBox="1">
            <a:spLocks/>
          </p:cNvSpPr>
          <p:nvPr/>
        </p:nvSpPr>
        <p:spPr>
          <a:xfrm>
            <a:off x="6361653" y="1952624"/>
            <a:ext cx="4847686" cy="4337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Potential Sources of Data</a:t>
            </a:r>
          </a:p>
          <a:p>
            <a:r>
              <a:rPr lang="en-US" dirty="0"/>
              <a:t>Time Series Data</a:t>
            </a:r>
          </a:p>
          <a:p>
            <a:pPr lvl="2"/>
            <a:r>
              <a:rPr lang="en-US" sz="1600" dirty="0"/>
              <a:t>Hours registered by workers.</a:t>
            </a:r>
          </a:p>
          <a:p>
            <a:pPr lvl="2"/>
            <a:r>
              <a:rPr lang="en-US" sz="1600" dirty="0"/>
              <a:t>Materials purchased.</a:t>
            </a:r>
          </a:p>
          <a:p>
            <a:pPr lvl="2"/>
            <a:r>
              <a:rPr lang="en-US" sz="1600" dirty="0"/>
              <a:t>Invoices.</a:t>
            </a:r>
          </a:p>
          <a:p>
            <a:pPr lvl="2"/>
            <a:r>
              <a:rPr lang="en-US" sz="1600" dirty="0"/>
              <a:t>Budget from the tender processes.</a:t>
            </a:r>
          </a:p>
          <a:p>
            <a:r>
              <a:rPr lang="en-US" dirty="0"/>
              <a:t>Macroeconomic Data</a:t>
            </a:r>
          </a:p>
          <a:p>
            <a:pPr lvl="2"/>
            <a:r>
              <a:rPr lang="en-US" sz="1600" dirty="0"/>
              <a:t>Overall sentiment.</a:t>
            </a:r>
          </a:p>
          <a:p>
            <a:pPr lvl="2"/>
            <a:r>
              <a:rPr lang="en-US" sz="1600" dirty="0"/>
              <a:t>Interest rate</a:t>
            </a:r>
          </a:p>
          <a:p>
            <a:pPr lvl="2"/>
            <a:r>
              <a:rPr lang="en-US" sz="1600" dirty="0"/>
              <a:t>Unemployment rate.</a:t>
            </a:r>
          </a:p>
          <a:p>
            <a:r>
              <a:rPr lang="en-US" dirty="0"/>
              <a:t>Industry Specific Data</a:t>
            </a:r>
          </a:p>
          <a:p>
            <a:pPr lvl="2"/>
            <a:r>
              <a:rPr lang="en-US" sz="1600" dirty="0"/>
              <a:t>Overall activity</a:t>
            </a:r>
          </a:p>
          <a:p>
            <a:pPr lvl="2"/>
            <a:r>
              <a:rPr lang="en-US" sz="1600" dirty="0"/>
              <a:t>Order backlog</a:t>
            </a:r>
          </a:p>
          <a:p>
            <a:pPr lvl="2"/>
            <a:r>
              <a:rPr lang="en-US" sz="1600" dirty="0"/>
              <a:t>Unemployment rate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5" name="Pladsholder til indhold 5">
            <a:extLst>
              <a:ext uri="{FF2B5EF4-FFF2-40B4-BE49-F238E27FC236}">
                <a16:creationId xmlns:a16="http://schemas.microsoft.com/office/drawing/2014/main" id="{0256447C-D35F-4F86-D90B-E90F6B46AE7F}"/>
              </a:ext>
            </a:extLst>
          </p:cNvPr>
          <p:cNvSpPr txBox="1">
            <a:spLocks/>
          </p:cNvSpPr>
          <p:nvPr/>
        </p:nvSpPr>
        <p:spPr>
          <a:xfrm>
            <a:off x="982661" y="971548"/>
            <a:ext cx="10226676" cy="98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025" lvl="1" indent="0">
              <a:buNone/>
            </a:pPr>
            <a:r>
              <a:rPr lang="en-US" dirty="0"/>
              <a:t>ELCON stores a vast amount of data, and before any analyses can be conducted, the data must be cleaned and sorted. </a:t>
            </a:r>
          </a:p>
          <a:p>
            <a:pPr marL="179025" lvl="1" indent="0">
              <a:buNone/>
            </a:pPr>
            <a:r>
              <a:rPr lang="en-US" dirty="0"/>
              <a:t>Literature review will largely focus on advancements made in fields regarding data science.</a:t>
            </a:r>
          </a:p>
        </p:txBody>
      </p:sp>
    </p:spTree>
    <p:extLst>
      <p:ext uri="{BB962C8B-B14F-4D97-AF65-F5344CB8AC3E}">
        <p14:creationId xmlns:p14="http://schemas.microsoft.com/office/powerpoint/2010/main" val="249252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ected Output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4808537" cy="5077220"/>
          </a:xfrm>
        </p:spPr>
        <p:txBody>
          <a:bodyPr/>
          <a:lstStyle/>
          <a:p>
            <a:r>
              <a:rPr lang="en-US" dirty="0"/>
              <a:t>Comprehensive data model with a variety of use cases.</a:t>
            </a:r>
          </a:p>
          <a:p>
            <a:r>
              <a:rPr lang="en-US" dirty="0"/>
              <a:t>Contracting Dashboard with KPIs and KRIs.</a:t>
            </a:r>
          </a:p>
          <a:p>
            <a:pPr lvl="2"/>
            <a:r>
              <a:rPr lang="en-US" dirty="0"/>
              <a:t>Identification of risky projects.</a:t>
            </a:r>
          </a:p>
          <a:p>
            <a:pPr lvl="2"/>
            <a:r>
              <a:rPr lang="en-US" dirty="0"/>
              <a:t>Identification of areas of improvement.</a:t>
            </a:r>
          </a:p>
          <a:p>
            <a:pPr lvl="2"/>
            <a:r>
              <a:rPr lang="en-US" dirty="0"/>
              <a:t>Highlight trends and patterns in data.</a:t>
            </a:r>
          </a:p>
          <a:p>
            <a:r>
              <a:rPr lang="en-US" dirty="0"/>
              <a:t>Insight into underlying risk factors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1600" dirty="0"/>
              <a:t>The right-hand side shows a draft of the time series model, coupled with a Principal Component Analysis of contribution margin (DB).</a:t>
            </a:r>
          </a:p>
          <a:p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38285DF7-26A5-0B52-5D8A-45F17BF22272}"/>
              </a:ext>
            </a:extLst>
          </p:cNvPr>
          <p:cNvGrpSpPr/>
          <p:nvPr/>
        </p:nvGrpSpPr>
        <p:grpSpPr>
          <a:xfrm>
            <a:off x="6019732" y="407777"/>
            <a:ext cx="5837306" cy="6220396"/>
            <a:chOff x="6096000" y="380564"/>
            <a:chExt cx="5837306" cy="6220396"/>
          </a:xfrm>
        </p:grpSpPr>
        <p:graphicFrame>
          <p:nvGraphicFramePr>
            <p:cNvPr id="9" name="Objekt 8">
              <a:extLst>
                <a:ext uri="{FF2B5EF4-FFF2-40B4-BE49-F238E27FC236}">
                  <a16:creationId xmlns:a16="http://schemas.microsoft.com/office/drawing/2014/main" id="{D1559444-CA7D-43C0-1DE4-369F3173A80D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31780390"/>
                </p:ext>
              </p:extLst>
            </p:nvPr>
          </p:nvGraphicFramePr>
          <p:xfrm>
            <a:off x="6173306" y="380564"/>
            <a:ext cx="5760000" cy="390134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6" imgW="13782628" imgH="9334410" progId="AcroExch.Document.DC">
                    <p:embed/>
                  </p:oleObj>
                </mc:Choice>
                <mc:Fallback>
                  <p:oleObj name="Acrobat Document" r:id="rId6" imgW="13782628" imgH="9334410" progId="AcroExch.Document.DC">
                    <p:embed/>
                    <p:pic>
                      <p:nvPicPr>
                        <p:cNvPr id="9" name="Objekt 8">
                          <a:extLst>
                            <a:ext uri="{FF2B5EF4-FFF2-40B4-BE49-F238E27FC236}">
                              <a16:creationId xmlns:a16="http://schemas.microsoft.com/office/drawing/2014/main" id="{D1559444-CA7D-43C0-1DE4-369F3173A80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173306" y="380564"/>
                          <a:ext cx="5760000" cy="390134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1" name="Objekt 20">
              <a:extLst>
                <a:ext uri="{FF2B5EF4-FFF2-40B4-BE49-F238E27FC236}">
                  <a16:creationId xmlns:a16="http://schemas.microsoft.com/office/drawing/2014/main" id="{B305C757-02F7-D8E4-C352-87D04B02267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87411849"/>
                </p:ext>
              </p:extLst>
            </p:nvPr>
          </p:nvGraphicFramePr>
          <p:xfrm>
            <a:off x="9053306" y="4422584"/>
            <a:ext cx="2880000" cy="21783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8" imgW="4105257" imgH="3104867" progId="AcroExch.Document.DC">
                    <p:embed/>
                  </p:oleObj>
                </mc:Choice>
                <mc:Fallback>
                  <p:oleObj name="Acrobat Document" r:id="rId8" imgW="4105257" imgH="3104867" progId="AcroExch.Document.DC">
                    <p:embed/>
                    <p:pic>
                      <p:nvPicPr>
                        <p:cNvPr id="21" name="Objekt 20">
                          <a:extLst>
                            <a:ext uri="{FF2B5EF4-FFF2-40B4-BE49-F238E27FC236}">
                              <a16:creationId xmlns:a16="http://schemas.microsoft.com/office/drawing/2014/main" id="{B305C757-02F7-D8E4-C352-87D04B02267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9053306" y="4422584"/>
                          <a:ext cx="2880000" cy="217837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2" name="Objekt 21">
              <a:extLst>
                <a:ext uri="{FF2B5EF4-FFF2-40B4-BE49-F238E27FC236}">
                  <a16:creationId xmlns:a16="http://schemas.microsoft.com/office/drawing/2014/main" id="{047ADE68-9866-819C-37AA-A7469690386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97269531"/>
                </p:ext>
              </p:extLst>
            </p:nvPr>
          </p:nvGraphicFramePr>
          <p:xfrm>
            <a:off x="6096000" y="4427615"/>
            <a:ext cx="2880000" cy="216831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10" imgW="4123996" imgH="3104867" progId="AcroExch.Document.DC">
                    <p:embed/>
                  </p:oleObj>
                </mc:Choice>
                <mc:Fallback>
                  <p:oleObj name="Acrobat Document" r:id="rId10" imgW="4123996" imgH="3104867" progId="AcroExch.Document.DC">
                    <p:embed/>
                    <p:pic>
                      <p:nvPicPr>
                        <p:cNvPr id="22" name="Objekt 21">
                          <a:extLst>
                            <a:ext uri="{FF2B5EF4-FFF2-40B4-BE49-F238E27FC236}">
                              <a16:creationId xmlns:a16="http://schemas.microsoft.com/office/drawing/2014/main" id="{047ADE68-9866-819C-37AA-A7469690386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096000" y="4427615"/>
                          <a:ext cx="2880000" cy="216831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90062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09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911282-8D0D-E832-9894-1A20E221C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B4ABF34-2465-9587-78EC-00BCB22AB2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0161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6B0171-55CA-34B6-3803-978FADA4C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58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6B0171-55CA-34B6-3803-978FADA4C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A3E130-9533-0E36-0857-BC4D928C3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Research </a:t>
            </a:r>
            <a:r>
              <a:rPr lang="da-DK" dirty="0" err="1"/>
              <a:t>Questio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1031A30-F24A-B042-B598-C4816262536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41078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5FE1D0F-2634-853A-8CB7-E60EF91E06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980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5FE1D0F-2634-853A-8CB7-E60EF91E0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3F90B2EF-94A9-6ADD-940C-1700EB1EAC8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10763" y="0"/>
            <a:ext cx="6770474" cy="6770474"/>
          </a:xfrm>
        </p:spPr>
      </p:pic>
    </p:spTree>
    <p:extLst>
      <p:ext uri="{BB962C8B-B14F-4D97-AF65-F5344CB8AC3E}">
        <p14:creationId xmlns:p14="http://schemas.microsoft.com/office/powerpoint/2010/main" val="3397296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7</TotalTime>
  <Words>657</Words>
  <Application>Microsoft Office PowerPoint</Application>
  <PresentationFormat>Widescreen</PresentationFormat>
  <Paragraphs>108</Paragraphs>
  <Slides>10</Slides>
  <Notes>7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10</vt:i4>
      </vt:variant>
    </vt:vector>
  </HeadingPairs>
  <TitlesOfParts>
    <vt:vector size="15" baseType="lpstr">
      <vt:lpstr>Arial</vt:lpstr>
      <vt:lpstr>Corbel</vt:lpstr>
      <vt:lpstr>NRGi</vt:lpstr>
      <vt:lpstr>think-cell Slide</vt:lpstr>
      <vt:lpstr>Acrobat Document</vt:lpstr>
      <vt:lpstr>Statistical Risk Management</vt:lpstr>
      <vt:lpstr>Outline</vt:lpstr>
      <vt:lpstr>Motivation</vt:lpstr>
      <vt:lpstr>Preliminary Problems</vt:lpstr>
      <vt:lpstr>Scientific Methods and Data</vt:lpstr>
      <vt:lpstr>Expected Output</vt:lpstr>
      <vt:lpstr>PowerPoint-præsentation</vt:lpstr>
      <vt:lpstr>Research Question</vt:lpstr>
      <vt:lpstr>PowerPoint-præsentation</vt:lpstr>
      <vt:lpstr>Risk Maturity Mod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3</cp:revision>
  <cp:lastPrinted>2021-01-06T12:41:59Z</cp:lastPrinted>
  <dcterms:created xsi:type="dcterms:W3CDTF">2023-02-21T13:26:08Z</dcterms:created>
  <dcterms:modified xsi:type="dcterms:W3CDTF">2023-08-28T13:20:33Z</dcterms:modified>
</cp:coreProperties>
</file>